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  <p:sldMasterId id="2147483665" r:id="rId3"/>
  </p:sldMasterIdLst>
  <p:notesMasterIdLst>
    <p:notesMasterId r:id="rId9"/>
  </p:notesMasterIdLst>
  <p:sldIdLst>
    <p:sldId id="256" r:id="rId4"/>
    <p:sldId id="257" r:id="rId5"/>
    <p:sldId id="258" r:id="rId6"/>
    <p:sldId id="259" r:id="rId7"/>
    <p:sldId id="260" r:id="rId8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84981" autoAdjust="0"/>
  </p:normalViewPr>
  <p:slideViewPr>
    <p:cSldViewPr snapToGrid="0">
      <p:cViewPr varScale="1">
        <p:scale>
          <a:sx n="59" d="100"/>
          <a:sy n="59" d="100"/>
        </p:scale>
        <p:origin x="912" y="4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4.xml"/><Relationship Id="rId12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viewProps" Target="viewProps.xml"/><Relationship Id="rId5" Type="http://schemas.openxmlformats.org/officeDocument/2006/relationships/slide" Target="slides/slide2.xml"/><Relationship Id="rId10" Type="http://schemas.openxmlformats.org/officeDocument/2006/relationships/presProps" Target="presProps.xml"/><Relationship Id="rId4" Type="http://schemas.openxmlformats.org/officeDocument/2006/relationships/slide" Target="slides/slide1.xml"/><Relationship Id="rId9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FBADF60-C5C3-4F15-88A0-2D0D4295E24D}" type="datetimeFigureOut">
              <a:rPr lang="en-US" smtClean="0"/>
              <a:t>7/18/20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B6A5B26-7918-4926-BADB-EA23FE2BAEB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160841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Difference between API &amp;  Web service(when an API has to be used over</a:t>
            </a:r>
            <a:r>
              <a:rPr lang="en-US" baseline="0" dirty="0" smtClean="0"/>
              <a:t> internet using HTTP protocol, we call it as web services)</a:t>
            </a:r>
          </a:p>
          <a:p>
            <a:r>
              <a:rPr lang="en-US" baseline="0" dirty="0" smtClean="0"/>
              <a:t>Login web service for an application, we need API to make that Login Web service to ur device like </a:t>
            </a:r>
            <a:r>
              <a:rPr lang="en-US" baseline="0" dirty="0" err="1" smtClean="0"/>
              <a:t>mob,tab</a:t>
            </a:r>
            <a:r>
              <a:rPr lang="en-US" baseline="0" dirty="0" smtClean="0"/>
              <a:t> or desktop or laptop</a:t>
            </a:r>
          </a:p>
          <a:p>
            <a:r>
              <a:rPr lang="en-US" baseline="0" dirty="0" smtClean="0"/>
              <a:t>Web services always need internet, but API’s don’t (like Selenium API download to use it, java API)</a:t>
            </a:r>
          </a:p>
          <a:p>
            <a:r>
              <a:rPr lang="en-US" baseline="0" dirty="0" smtClean="0"/>
              <a:t>Ex: </a:t>
            </a:r>
            <a:r>
              <a:rPr lang="en-US" baseline="0" dirty="0" err="1" smtClean="0"/>
              <a:t>Uber</a:t>
            </a:r>
            <a:r>
              <a:rPr lang="en-US" baseline="0" dirty="0" smtClean="0"/>
              <a:t> using Google Maps for navigation or using Feedback applications of some other companies through API’s(Monkey survey)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B6A5B26-7918-4926-BADB-EA23FE2BAEBC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211401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XML/JSON- provide account number and password to communicate with a bank or IFSC Code or Branch</a:t>
            </a:r>
            <a:r>
              <a:rPr lang="en-US" baseline="0" dirty="0" smtClean="0"/>
              <a:t> number</a:t>
            </a:r>
          </a:p>
          <a:p>
            <a:r>
              <a:rPr lang="en-US" baseline="0" dirty="0" smtClean="0"/>
              <a:t>CRUD operations could be performed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B6A5B26-7918-4926-BADB-EA23FE2BAEBC}" type="slidenum">
              <a:rPr lang="en-US" smtClean="0">
                <a:solidFill>
                  <a:prstClr val="black"/>
                </a:solidFill>
              </a:rPr>
              <a:pPr/>
              <a:t>3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2196859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Two types of API Testing- </a:t>
            </a:r>
            <a:r>
              <a:rPr lang="en-US" b="1" dirty="0" smtClean="0"/>
              <a:t>internal API’s and external API’s</a:t>
            </a:r>
          </a:p>
          <a:p>
            <a:r>
              <a:rPr lang="en-US" dirty="0" smtClean="0"/>
              <a:t>Ex: Flip Cart, will have order and user management team (internal</a:t>
            </a:r>
            <a:r>
              <a:rPr lang="en-US" baseline="0" dirty="0" smtClean="0"/>
              <a:t> API’s) orders related with a particular </a:t>
            </a:r>
            <a:r>
              <a:rPr lang="en-US" baseline="0" dirty="0" err="1" smtClean="0"/>
              <a:t>prson</a:t>
            </a:r>
            <a:r>
              <a:rPr lang="en-US" baseline="0" dirty="0" smtClean="0"/>
              <a:t> will be available</a:t>
            </a:r>
          </a:p>
          <a:p>
            <a:r>
              <a:rPr lang="en-US" baseline="0" dirty="0" smtClean="0"/>
              <a:t>	if they want to integrate with FB- </a:t>
            </a:r>
            <a:r>
              <a:rPr lang="en-US" baseline="0" dirty="0" err="1" smtClean="0"/>
              <a:t>flipcart</a:t>
            </a:r>
            <a:r>
              <a:rPr lang="en-US" baseline="0" dirty="0" smtClean="0"/>
              <a:t> will interact with API’s to interact with FB</a:t>
            </a:r>
          </a:p>
          <a:p>
            <a:r>
              <a:rPr lang="en-US" baseline="0" dirty="0" smtClean="0"/>
              <a:t>Performance Testing- to check if a link is </a:t>
            </a:r>
            <a:r>
              <a:rPr lang="en-US" baseline="0" dirty="0" err="1" smtClean="0"/>
              <a:t>hitted</a:t>
            </a:r>
            <a:r>
              <a:rPr lang="en-US" baseline="0" dirty="0" smtClean="0"/>
              <a:t>  10000 times at a particular occasion, how API’s are working and reacting</a:t>
            </a:r>
          </a:p>
          <a:p>
            <a:r>
              <a:rPr lang="en-US" baseline="0" dirty="0" smtClean="0"/>
              <a:t>Security Testing- external communication, some hacker may hack and misuse ur data</a:t>
            </a:r>
          </a:p>
          <a:p>
            <a:endParaRPr lang="en-US" baseline="0" dirty="0" smtClean="0"/>
          </a:p>
          <a:p>
            <a:r>
              <a:rPr lang="en-US" baseline="0" dirty="0" smtClean="0"/>
              <a:t>API Tester will do back end testing, as soon as back end has created, UI may look </a:t>
            </a:r>
            <a:r>
              <a:rPr lang="en-US" baseline="0" dirty="0" err="1" smtClean="0"/>
              <a:t>gud</a:t>
            </a:r>
            <a:r>
              <a:rPr lang="en-US" baseline="0" dirty="0" smtClean="0"/>
              <a:t> but back end must be reliable and robust. Like money got deducted but order is not placed.</a:t>
            </a:r>
          </a:p>
          <a:p>
            <a:endParaRPr lang="en-US" baseline="0" dirty="0" smtClean="0"/>
          </a:p>
          <a:p>
            <a:r>
              <a:rPr lang="en-US" baseline="0" dirty="0" smtClean="0"/>
              <a:t>For 100  test cases- API testing 30 </a:t>
            </a:r>
            <a:r>
              <a:rPr lang="en-US" baseline="0" dirty="0" err="1" smtClean="0"/>
              <a:t>mins</a:t>
            </a:r>
            <a:endParaRPr lang="en-US" baseline="0" dirty="0" smtClean="0"/>
          </a:p>
          <a:p>
            <a:r>
              <a:rPr lang="en-US" baseline="0" dirty="0" smtClean="0"/>
              <a:t>	         selenium </a:t>
            </a:r>
            <a:r>
              <a:rPr lang="en-US" baseline="0" dirty="0" err="1" smtClean="0"/>
              <a:t>arnd</a:t>
            </a:r>
            <a:r>
              <a:rPr lang="en-US" baseline="0" dirty="0" smtClean="0"/>
              <a:t> 4-5 </a:t>
            </a:r>
            <a:r>
              <a:rPr lang="en-US" baseline="0" dirty="0" err="1" smtClean="0"/>
              <a:t>hr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B6A5B26-7918-4926-BADB-EA23FE2BAEBC}" type="slidenum">
              <a:rPr lang="en-US" smtClean="0">
                <a:solidFill>
                  <a:prstClr val="black"/>
                </a:solidFill>
              </a:rPr>
              <a:pPr/>
              <a:t>4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8360292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Protocols</a:t>
            </a:r>
            <a:r>
              <a:rPr lang="en-US" baseline="0" dirty="0" smtClean="0"/>
              <a:t> for API Testing-JMS,REST,SOAP,HTTP,UDDI</a:t>
            </a:r>
          </a:p>
          <a:p>
            <a:r>
              <a:rPr lang="en-GB" dirty="0" smtClean="0"/>
              <a:t>Test Environment for API Testing-</a:t>
            </a:r>
            <a:r>
              <a:rPr lang="en-GB" sz="1200" dirty="0" smtClean="0">
                <a:solidFill>
                  <a:srgbClr val="0070C0"/>
                </a:solidFill>
              </a:rPr>
              <a:t>It requires complex configuration of Database and Server, No GUI is available in test form</a:t>
            </a:r>
          </a:p>
          <a:p>
            <a:endParaRPr lang="en-GB" sz="1200" dirty="0" smtClean="0">
              <a:solidFill>
                <a:srgbClr val="0070C0"/>
              </a:solidFill>
            </a:endParaRPr>
          </a:p>
          <a:p>
            <a:r>
              <a:rPr lang="en-US" sz="1200" b="1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enetration testing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also called </a:t>
            </a:r>
            <a:r>
              <a:rPr lang="en-US" sz="1200" b="1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en testing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or ethical hacking, is the practice of </a:t>
            </a:r>
            <a:r>
              <a:rPr lang="en-US" sz="1200" b="1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esting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a computer system, network or web application to find security vulnerabilities that an attacker could exploit. </a:t>
            </a:r>
            <a:endParaRPr lang="en-US" sz="1200" b="0" i="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en-US" sz="1200" b="0" i="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ompatibility Testing is a type of Software testing to check whether your software is capable of running on different hardware, operating systems, applications, network environments or</a:t>
            </a:r>
            <a:r>
              <a:rPr lang="en-US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 Mobile 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evices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B6A5B26-7918-4926-BADB-EA23FE2BAEBC}" type="slidenum">
              <a:rPr lang="en-US" smtClean="0">
                <a:solidFill>
                  <a:prstClr val="black"/>
                </a:solidFill>
              </a:rPr>
              <a:pPr/>
              <a:t>5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1206098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8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9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2DC1286-507C-409B-B048-0E432650970D}" type="datetimeFigureOut">
              <a:rPr lang="en-US" smtClean="0"/>
              <a:t>7/18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62C01D-CEAC-4D78-83F0-C959E482489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9487428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2DC1286-507C-409B-B048-0E432650970D}" type="datetimeFigureOut">
              <a:rPr lang="en-US" smtClean="0"/>
              <a:t>7/18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62C01D-CEAC-4D78-83F0-C959E482489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408470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2DC1286-507C-409B-B048-0E432650970D}" type="datetimeFigureOut">
              <a:rPr lang="en-US" smtClean="0"/>
              <a:t>7/18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62C01D-CEAC-4D78-83F0-C959E482489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46614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1">
    <p:bg>
      <p:bgPr>
        <a:solidFill>
          <a:srgbClr val="E6E7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9" name="Freeform 7"/>
          <p:cNvSpPr>
            <a:spLocks/>
          </p:cNvSpPr>
          <p:nvPr userDrawn="1"/>
        </p:nvSpPr>
        <p:spPr bwMode="auto">
          <a:xfrm>
            <a:off x="5137150" y="0"/>
            <a:ext cx="7054850" cy="6854825"/>
          </a:xfrm>
          <a:custGeom>
            <a:avLst/>
            <a:gdLst/>
            <a:ahLst/>
            <a:cxnLst>
              <a:cxn ang="0">
                <a:pos x="4444" y="0"/>
              </a:cxn>
              <a:cxn ang="0">
                <a:pos x="4444" y="32"/>
              </a:cxn>
              <a:cxn ang="0">
                <a:pos x="4444" y="4292"/>
              </a:cxn>
              <a:cxn ang="0">
                <a:pos x="4440" y="4306"/>
              </a:cxn>
              <a:cxn ang="0">
                <a:pos x="4426" y="4314"/>
              </a:cxn>
              <a:cxn ang="0">
                <a:pos x="4326" y="4318"/>
              </a:cxn>
              <a:cxn ang="0">
                <a:pos x="4228" y="4310"/>
              </a:cxn>
              <a:cxn ang="0">
                <a:pos x="4076" y="4282"/>
              </a:cxn>
              <a:cxn ang="0">
                <a:pos x="3928" y="4240"/>
              </a:cxn>
              <a:cxn ang="0">
                <a:pos x="3740" y="4170"/>
              </a:cxn>
              <a:cxn ang="0">
                <a:pos x="3474" y="4042"/>
              </a:cxn>
              <a:cxn ang="0">
                <a:pos x="3216" y="3896"/>
              </a:cxn>
              <a:cxn ang="0">
                <a:pos x="3024" y="3772"/>
              </a:cxn>
              <a:cxn ang="0">
                <a:pos x="2704" y="3544"/>
              </a:cxn>
              <a:cxn ang="0">
                <a:pos x="2396" y="3300"/>
              </a:cxn>
              <a:cxn ang="0">
                <a:pos x="2180" y="3116"/>
              </a:cxn>
              <a:cxn ang="0">
                <a:pos x="2256" y="2964"/>
              </a:cxn>
              <a:cxn ang="0">
                <a:pos x="2286" y="2890"/>
              </a:cxn>
              <a:cxn ang="0">
                <a:pos x="2322" y="2774"/>
              </a:cxn>
              <a:cxn ang="0">
                <a:pos x="2338" y="2654"/>
              </a:cxn>
              <a:cxn ang="0">
                <a:pos x="2336" y="2562"/>
              </a:cxn>
              <a:cxn ang="0">
                <a:pos x="2306" y="2432"/>
              </a:cxn>
              <a:cxn ang="0">
                <a:pos x="2242" y="2310"/>
              </a:cxn>
              <a:cxn ang="0">
                <a:pos x="2188" y="2238"/>
              </a:cxn>
              <a:cxn ang="0">
                <a:pos x="2092" y="2144"/>
              </a:cxn>
              <a:cxn ang="0">
                <a:pos x="1986" y="2062"/>
              </a:cxn>
              <a:cxn ang="0">
                <a:pos x="1878" y="1990"/>
              </a:cxn>
              <a:cxn ang="0">
                <a:pos x="1712" y="1894"/>
              </a:cxn>
              <a:cxn ang="0">
                <a:pos x="1538" y="1808"/>
              </a:cxn>
              <a:cxn ang="0">
                <a:pos x="1156" y="1640"/>
              </a:cxn>
              <a:cxn ang="0">
                <a:pos x="710" y="1446"/>
              </a:cxn>
              <a:cxn ang="0">
                <a:pos x="524" y="1350"/>
              </a:cxn>
              <a:cxn ang="0">
                <a:pos x="354" y="1230"/>
              </a:cxn>
              <a:cxn ang="0">
                <a:pos x="262" y="1144"/>
              </a:cxn>
              <a:cxn ang="0">
                <a:pos x="158" y="1020"/>
              </a:cxn>
              <a:cxn ang="0">
                <a:pos x="80" y="884"/>
              </a:cxn>
              <a:cxn ang="0">
                <a:pos x="28" y="740"/>
              </a:cxn>
              <a:cxn ang="0">
                <a:pos x="2" y="584"/>
              </a:cxn>
              <a:cxn ang="0">
                <a:pos x="4" y="418"/>
              </a:cxn>
              <a:cxn ang="0">
                <a:pos x="18" y="314"/>
              </a:cxn>
              <a:cxn ang="0">
                <a:pos x="58" y="162"/>
              </a:cxn>
              <a:cxn ang="0">
                <a:pos x="118" y="16"/>
              </a:cxn>
              <a:cxn ang="0">
                <a:pos x="122" y="0"/>
              </a:cxn>
            </a:cxnLst>
            <a:rect l="0" t="0" r="r" b="b"/>
            <a:pathLst>
              <a:path w="4444" h="4318">
                <a:moveTo>
                  <a:pt x="122" y="0"/>
                </a:moveTo>
                <a:lnTo>
                  <a:pt x="122" y="0"/>
                </a:lnTo>
                <a:lnTo>
                  <a:pt x="4444" y="0"/>
                </a:lnTo>
                <a:lnTo>
                  <a:pt x="4444" y="0"/>
                </a:lnTo>
                <a:lnTo>
                  <a:pt x="4444" y="32"/>
                </a:lnTo>
                <a:lnTo>
                  <a:pt x="4444" y="32"/>
                </a:lnTo>
                <a:lnTo>
                  <a:pt x="4444" y="4272"/>
                </a:lnTo>
                <a:lnTo>
                  <a:pt x="4444" y="4272"/>
                </a:lnTo>
                <a:lnTo>
                  <a:pt x="4444" y="4292"/>
                </a:lnTo>
                <a:lnTo>
                  <a:pt x="4444" y="4292"/>
                </a:lnTo>
                <a:lnTo>
                  <a:pt x="4444" y="4300"/>
                </a:lnTo>
                <a:lnTo>
                  <a:pt x="4440" y="4306"/>
                </a:lnTo>
                <a:lnTo>
                  <a:pt x="4436" y="4310"/>
                </a:lnTo>
                <a:lnTo>
                  <a:pt x="4426" y="4314"/>
                </a:lnTo>
                <a:lnTo>
                  <a:pt x="4426" y="4314"/>
                </a:lnTo>
                <a:lnTo>
                  <a:pt x="4402" y="4316"/>
                </a:lnTo>
                <a:lnTo>
                  <a:pt x="4376" y="4318"/>
                </a:lnTo>
                <a:lnTo>
                  <a:pt x="4326" y="4318"/>
                </a:lnTo>
                <a:lnTo>
                  <a:pt x="4278" y="4316"/>
                </a:lnTo>
                <a:lnTo>
                  <a:pt x="4228" y="4310"/>
                </a:lnTo>
                <a:lnTo>
                  <a:pt x="4228" y="4310"/>
                </a:lnTo>
                <a:lnTo>
                  <a:pt x="4176" y="4302"/>
                </a:lnTo>
                <a:lnTo>
                  <a:pt x="4126" y="4294"/>
                </a:lnTo>
                <a:lnTo>
                  <a:pt x="4076" y="4282"/>
                </a:lnTo>
                <a:lnTo>
                  <a:pt x="4026" y="4270"/>
                </a:lnTo>
                <a:lnTo>
                  <a:pt x="3978" y="4256"/>
                </a:lnTo>
                <a:lnTo>
                  <a:pt x="3928" y="4240"/>
                </a:lnTo>
                <a:lnTo>
                  <a:pt x="3832" y="4206"/>
                </a:lnTo>
                <a:lnTo>
                  <a:pt x="3832" y="4206"/>
                </a:lnTo>
                <a:lnTo>
                  <a:pt x="3740" y="4170"/>
                </a:lnTo>
                <a:lnTo>
                  <a:pt x="3650" y="4130"/>
                </a:lnTo>
                <a:lnTo>
                  <a:pt x="3562" y="4088"/>
                </a:lnTo>
                <a:lnTo>
                  <a:pt x="3474" y="4042"/>
                </a:lnTo>
                <a:lnTo>
                  <a:pt x="3386" y="3996"/>
                </a:lnTo>
                <a:lnTo>
                  <a:pt x="3302" y="3946"/>
                </a:lnTo>
                <a:lnTo>
                  <a:pt x="3216" y="3896"/>
                </a:lnTo>
                <a:lnTo>
                  <a:pt x="3134" y="3844"/>
                </a:lnTo>
                <a:lnTo>
                  <a:pt x="3134" y="3844"/>
                </a:lnTo>
                <a:lnTo>
                  <a:pt x="3024" y="3772"/>
                </a:lnTo>
                <a:lnTo>
                  <a:pt x="2916" y="3698"/>
                </a:lnTo>
                <a:lnTo>
                  <a:pt x="2808" y="3622"/>
                </a:lnTo>
                <a:lnTo>
                  <a:pt x="2704" y="3544"/>
                </a:lnTo>
                <a:lnTo>
                  <a:pt x="2600" y="3464"/>
                </a:lnTo>
                <a:lnTo>
                  <a:pt x="2498" y="3382"/>
                </a:lnTo>
                <a:lnTo>
                  <a:pt x="2396" y="3300"/>
                </a:lnTo>
                <a:lnTo>
                  <a:pt x="2296" y="3214"/>
                </a:lnTo>
                <a:lnTo>
                  <a:pt x="2296" y="3214"/>
                </a:lnTo>
                <a:lnTo>
                  <a:pt x="2180" y="3116"/>
                </a:lnTo>
                <a:lnTo>
                  <a:pt x="2180" y="3116"/>
                </a:lnTo>
                <a:lnTo>
                  <a:pt x="2220" y="3040"/>
                </a:lnTo>
                <a:lnTo>
                  <a:pt x="2256" y="2964"/>
                </a:lnTo>
                <a:lnTo>
                  <a:pt x="2256" y="2964"/>
                </a:lnTo>
                <a:lnTo>
                  <a:pt x="2272" y="2928"/>
                </a:lnTo>
                <a:lnTo>
                  <a:pt x="2286" y="2890"/>
                </a:lnTo>
                <a:lnTo>
                  <a:pt x="2300" y="2852"/>
                </a:lnTo>
                <a:lnTo>
                  <a:pt x="2312" y="2814"/>
                </a:lnTo>
                <a:lnTo>
                  <a:pt x="2322" y="2774"/>
                </a:lnTo>
                <a:lnTo>
                  <a:pt x="2330" y="2736"/>
                </a:lnTo>
                <a:lnTo>
                  <a:pt x="2334" y="2696"/>
                </a:lnTo>
                <a:lnTo>
                  <a:pt x="2338" y="2654"/>
                </a:lnTo>
                <a:lnTo>
                  <a:pt x="2338" y="2654"/>
                </a:lnTo>
                <a:lnTo>
                  <a:pt x="2340" y="2608"/>
                </a:lnTo>
                <a:lnTo>
                  <a:pt x="2336" y="2562"/>
                </a:lnTo>
                <a:lnTo>
                  <a:pt x="2330" y="2518"/>
                </a:lnTo>
                <a:lnTo>
                  <a:pt x="2320" y="2474"/>
                </a:lnTo>
                <a:lnTo>
                  <a:pt x="2306" y="2432"/>
                </a:lnTo>
                <a:lnTo>
                  <a:pt x="2288" y="2390"/>
                </a:lnTo>
                <a:lnTo>
                  <a:pt x="2266" y="2350"/>
                </a:lnTo>
                <a:lnTo>
                  <a:pt x="2242" y="2310"/>
                </a:lnTo>
                <a:lnTo>
                  <a:pt x="2242" y="2310"/>
                </a:lnTo>
                <a:lnTo>
                  <a:pt x="2216" y="2274"/>
                </a:lnTo>
                <a:lnTo>
                  <a:pt x="2188" y="2238"/>
                </a:lnTo>
                <a:lnTo>
                  <a:pt x="2158" y="2206"/>
                </a:lnTo>
                <a:lnTo>
                  <a:pt x="2126" y="2174"/>
                </a:lnTo>
                <a:lnTo>
                  <a:pt x="2092" y="2144"/>
                </a:lnTo>
                <a:lnTo>
                  <a:pt x="2058" y="2116"/>
                </a:lnTo>
                <a:lnTo>
                  <a:pt x="2022" y="2088"/>
                </a:lnTo>
                <a:lnTo>
                  <a:pt x="1986" y="2062"/>
                </a:lnTo>
                <a:lnTo>
                  <a:pt x="1986" y="2062"/>
                </a:lnTo>
                <a:lnTo>
                  <a:pt x="1932" y="2024"/>
                </a:lnTo>
                <a:lnTo>
                  <a:pt x="1878" y="1990"/>
                </a:lnTo>
                <a:lnTo>
                  <a:pt x="1824" y="1956"/>
                </a:lnTo>
                <a:lnTo>
                  <a:pt x="1768" y="1924"/>
                </a:lnTo>
                <a:lnTo>
                  <a:pt x="1712" y="1894"/>
                </a:lnTo>
                <a:lnTo>
                  <a:pt x="1654" y="1864"/>
                </a:lnTo>
                <a:lnTo>
                  <a:pt x="1596" y="1836"/>
                </a:lnTo>
                <a:lnTo>
                  <a:pt x="1538" y="1808"/>
                </a:lnTo>
                <a:lnTo>
                  <a:pt x="1538" y="1808"/>
                </a:lnTo>
                <a:lnTo>
                  <a:pt x="1346" y="1724"/>
                </a:lnTo>
                <a:lnTo>
                  <a:pt x="1156" y="1640"/>
                </a:lnTo>
                <a:lnTo>
                  <a:pt x="774" y="1474"/>
                </a:lnTo>
                <a:lnTo>
                  <a:pt x="774" y="1474"/>
                </a:lnTo>
                <a:lnTo>
                  <a:pt x="710" y="1446"/>
                </a:lnTo>
                <a:lnTo>
                  <a:pt x="646" y="1416"/>
                </a:lnTo>
                <a:lnTo>
                  <a:pt x="584" y="1384"/>
                </a:lnTo>
                <a:lnTo>
                  <a:pt x="524" y="1350"/>
                </a:lnTo>
                <a:lnTo>
                  <a:pt x="466" y="1312"/>
                </a:lnTo>
                <a:lnTo>
                  <a:pt x="410" y="1272"/>
                </a:lnTo>
                <a:lnTo>
                  <a:pt x="354" y="1230"/>
                </a:lnTo>
                <a:lnTo>
                  <a:pt x="302" y="1184"/>
                </a:lnTo>
                <a:lnTo>
                  <a:pt x="302" y="1184"/>
                </a:lnTo>
                <a:lnTo>
                  <a:pt x="262" y="1144"/>
                </a:lnTo>
                <a:lnTo>
                  <a:pt x="224" y="1104"/>
                </a:lnTo>
                <a:lnTo>
                  <a:pt x="188" y="1062"/>
                </a:lnTo>
                <a:lnTo>
                  <a:pt x="158" y="1020"/>
                </a:lnTo>
                <a:lnTo>
                  <a:pt x="128" y="976"/>
                </a:lnTo>
                <a:lnTo>
                  <a:pt x="102" y="930"/>
                </a:lnTo>
                <a:lnTo>
                  <a:pt x="80" y="884"/>
                </a:lnTo>
                <a:lnTo>
                  <a:pt x="58" y="838"/>
                </a:lnTo>
                <a:lnTo>
                  <a:pt x="42" y="790"/>
                </a:lnTo>
                <a:lnTo>
                  <a:pt x="28" y="740"/>
                </a:lnTo>
                <a:lnTo>
                  <a:pt x="16" y="688"/>
                </a:lnTo>
                <a:lnTo>
                  <a:pt x="8" y="636"/>
                </a:lnTo>
                <a:lnTo>
                  <a:pt x="2" y="584"/>
                </a:lnTo>
                <a:lnTo>
                  <a:pt x="0" y="530"/>
                </a:lnTo>
                <a:lnTo>
                  <a:pt x="0" y="474"/>
                </a:lnTo>
                <a:lnTo>
                  <a:pt x="4" y="418"/>
                </a:lnTo>
                <a:lnTo>
                  <a:pt x="4" y="418"/>
                </a:lnTo>
                <a:lnTo>
                  <a:pt x="10" y="366"/>
                </a:lnTo>
                <a:lnTo>
                  <a:pt x="18" y="314"/>
                </a:lnTo>
                <a:lnTo>
                  <a:pt x="30" y="262"/>
                </a:lnTo>
                <a:lnTo>
                  <a:pt x="42" y="212"/>
                </a:lnTo>
                <a:lnTo>
                  <a:pt x="58" y="162"/>
                </a:lnTo>
                <a:lnTo>
                  <a:pt x="76" y="112"/>
                </a:lnTo>
                <a:lnTo>
                  <a:pt x="94" y="64"/>
                </a:lnTo>
                <a:lnTo>
                  <a:pt x="118" y="16"/>
                </a:lnTo>
                <a:lnTo>
                  <a:pt x="118" y="16"/>
                </a:lnTo>
                <a:lnTo>
                  <a:pt x="122" y="0"/>
                </a:lnTo>
                <a:lnTo>
                  <a:pt x="122" y="0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407988" y="1358153"/>
            <a:ext cx="4774258" cy="147515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>
              <a:defRPr lang="en-US" sz="2600" b="0" dirty="0">
                <a:solidFill>
                  <a:schemeClr val="accent1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07988" y="2976180"/>
            <a:ext cx="4774257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accent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grpSp>
        <p:nvGrpSpPr>
          <p:cNvPr id="13" name="Group 14"/>
          <p:cNvGrpSpPr>
            <a:grpSpLocks noChangeAspect="1"/>
          </p:cNvGrpSpPr>
          <p:nvPr userDrawn="1"/>
        </p:nvGrpSpPr>
        <p:grpSpPr>
          <a:xfrm>
            <a:off x="416888" y="4537346"/>
            <a:ext cx="5040000" cy="1123654"/>
            <a:chOff x="728663" y="4465638"/>
            <a:chExt cx="5354637" cy="1193801"/>
          </a:xfrm>
        </p:grpSpPr>
        <p:sp>
          <p:nvSpPr>
            <p:cNvPr id="14" name="Freeform 11"/>
            <p:cNvSpPr>
              <a:spLocks/>
            </p:cNvSpPr>
            <p:nvPr userDrawn="1"/>
          </p:nvSpPr>
          <p:spPr bwMode="auto">
            <a:xfrm>
              <a:off x="5464175" y="4830763"/>
              <a:ext cx="619125" cy="503238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9" y="43"/>
                </a:cxn>
                <a:cxn ang="0">
                  <a:pos x="142" y="0"/>
                </a:cxn>
                <a:cxn ang="0">
                  <a:pos x="50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5"/>
                </a:cxn>
                <a:cxn ang="0">
                  <a:pos x="125" y="107"/>
                </a:cxn>
              </a:cxnLst>
              <a:rect l="0" t="0" r="r" b="b"/>
              <a:pathLst>
                <a:path w="189" h="154">
                  <a:moveTo>
                    <a:pt x="125" y="107"/>
                  </a:moveTo>
                  <a:cubicBezTo>
                    <a:pt x="161" y="107"/>
                    <a:pt x="188" y="78"/>
                    <a:pt x="189" y="43"/>
                  </a:cubicBezTo>
                  <a:cubicBezTo>
                    <a:pt x="186" y="28"/>
                    <a:pt x="181" y="0"/>
                    <a:pt x="142" y="0"/>
                  </a:cubicBezTo>
                  <a:cubicBezTo>
                    <a:pt x="99" y="0"/>
                    <a:pt x="84" y="60"/>
                    <a:pt x="50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5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6" name="Freeform 12"/>
            <p:cNvSpPr>
              <a:spLocks noEditPoints="1"/>
            </p:cNvSpPr>
            <p:nvPr userDrawn="1"/>
          </p:nvSpPr>
          <p:spPr bwMode="auto">
            <a:xfrm>
              <a:off x="728663" y="4483101"/>
              <a:ext cx="4352925" cy="1176338"/>
            </a:xfrm>
            <a:custGeom>
              <a:avLst/>
              <a:gdLst/>
              <a:ahLst/>
              <a:cxnLst>
                <a:cxn ang="0">
                  <a:pos x="1281" y="86"/>
                </a:cxn>
                <a:cxn ang="0">
                  <a:pos x="1240" y="210"/>
                </a:cxn>
                <a:cxn ang="0">
                  <a:pos x="1122" y="182"/>
                </a:cxn>
                <a:cxn ang="0">
                  <a:pos x="1121" y="104"/>
                </a:cxn>
                <a:cxn ang="0">
                  <a:pos x="1061" y="211"/>
                </a:cxn>
                <a:cxn ang="0">
                  <a:pos x="1007" y="84"/>
                </a:cxn>
                <a:cxn ang="0">
                  <a:pos x="924" y="86"/>
                </a:cxn>
                <a:cxn ang="0">
                  <a:pos x="830" y="72"/>
                </a:cxn>
                <a:cxn ang="0">
                  <a:pos x="781" y="160"/>
                </a:cxn>
                <a:cxn ang="0">
                  <a:pos x="756" y="81"/>
                </a:cxn>
                <a:cxn ang="0">
                  <a:pos x="666" y="200"/>
                </a:cxn>
                <a:cxn ang="0">
                  <a:pos x="677" y="82"/>
                </a:cxn>
                <a:cxn ang="0">
                  <a:pos x="628" y="196"/>
                </a:cxn>
                <a:cxn ang="0">
                  <a:pos x="585" y="113"/>
                </a:cxn>
                <a:cxn ang="0">
                  <a:pos x="527" y="198"/>
                </a:cxn>
                <a:cxn ang="0">
                  <a:pos x="586" y="102"/>
                </a:cxn>
                <a:cxn ang="0">
                  <a:pos x="493" y="118"/>
                </a:cxn>
                <a:cxn ang="0">
                  <a:pos x="454" y="147"/>
                </a:cxn>
                <a:cxn ang="0">
                  <a:pos x="368" y="111"/>
                </a:cxn>
                <a:cxn ang="0">
                  <a:pos x="335" y="90"/>
                </a:cxn>
                <a:cxn ang="0">
                  <a:pos x="309" y="215"/>
                </a:cxn>
                <a:cxn ang="0">
                  <a:pos x="280" y="124"/>
                </a:cxn>
                <a:cxn ang="0">
                  <a:pos x="224" y="211"/>
                </a:cxn>
                <a:cxn ang="0">
                  <a:pos x="286" y="113"/>
                </a:cxn>
                <a:cxn ang="0">
                  <a:pos x="182" y="145"/>
                </a:cxn>
                <a:cxn ang="0">
                  <a:pos x="39" y="128"/>
                </a:cxn>
                <a:cxn ang="0">
                  <a:pos x="136" y="72"/>
                </a:cxn>
                <a:cxn ang="0">
                  <a:pos x="109" y="0"/>
                </a:cxn>
                <a:cxn ang="0">
                  <a:pos x="90" y="249"/>
                </a:cxn>
                <a:cxn ang="0">
                  <a:pos x="218" y="238"/>
                </a:cxn>
                <a:cxn ang="0">
                  <a:pos x="306" y="238"/>
                </a:cxn>
                <a:cxn ang="0">
                  <a:pos x="377" y="337"/>
                </a:cxn>
                <a:cxn ang="0">
                  <a:pos x="404" y="109"/>
                </a:cxn>
                <a:cxn ang="0">
                  <a:pos x="420" y="182"/>
                </a:cxn>
                <a:cxn ang="0">
                  <a:pos x="392" y="239"/>
                </a:cxn>
                <a:cxn ang="0">
                  <a:pos x="480" y="160"/>
                </a:cxn>
                <a:cxn ang="0">
                  <a:pos x="519" y="227"/>
                </a:cxn>
                <a:cxn ang="0">
                  <a:pos x="564" y="226"/>
                </a:cxn>
                <a:cxn ang="0">
                  <a:pos x="526" y="359"/>
                </a:cxn>
                <a:cxn ang="0">
                  <a:pos x="639" y="214"/>
                </a:cxn>
                <a:cxn ang="0">
                  <a:pos x="758" y="189"/>
                </a:cxn>
                <a:cxn ang="0">
                  <a:pos x="829" y="111"/>
                </a:cxn>
                <a:cxn ang="0">
                  <a:pos x="920" y="128"/>
                </a:cxn>
                <a:cxn ang="0">
                  <a:pos x="1010" y="176"/>
                </a:cxn>
                <a:cxn ang="0">
                  <a:pos x="1097" y="200"/>
                </a:cxn>
                <a:cxn ang="0">
                  <a:pos x="1174" y="112"/>
                </a:cxn>
                <a:cxn ang="0">
                  <a:pos x="1274" y="196"/>
                </a:cxn>
                <a:cxn ang="0">
                  <a:pos x="1328" y="227"/>
                </a:cxn>
                <a:cxn ang="0">
                  <a:pos x="528" y="335"/>
                </a:cxn>
                <a:cxn ang="0">
                  <a:pos x="564" y="248"/>
                </a:cxn>
                <a:cxn ang="0">
                  <a:pos x="674" y="105"/>
                </a:cxn>
                <a:cxn ang="0">
                  <a:pos x="655" y="181"/>
                </a:cxn>
              </a:cxnLst>
              <a:rect l="0" t="0" r="r" b="b"/>
              <a:pathLst>
                <a:path w="1328" h="359">
                  <a:moveTo>
                    <a:pt x="1295" y="118"/>
                  </a:moveTo>
                  <a:cubicBezTo>
                    <a:pt x="1295" y="99"/>
                    <a:pt x="1294" y="86"/>
                    <a:pt x="1281" y="86"/>
                  </a:cubicBezTo>
                  <a:cubicBezTo>
                    <a:pt x="1275" y="86"/>
                    <a:pt x="1273" y="87"/>
                    <a:pt x="1268" y="89"/>
                  </a:cubicBezTo>
                  <a:cubicBezTo>
                    <a:pt x="1272" y="153"/>
                    <a:pt x="1258" y="210"/>
                    <a:pt x="1240" y="210"/>
                  </a:cubicBezTo>
                  <a:cubicBezTo>
                    <a:pt x="1217" y="210"/>
                    <a:pt x="1228" y="72"/>
                    <a:pt x="1179" y="72"/>
                  </a:cubicBezTo>
                  <a:cubicBezTo>
                    <a:pt x="1133" y="72"/>
                    <a:pt x="1127" y="182"/>
                    <a:pt x="1122" y="182"/>
                  </a:cubicBezTo>
                  <a:cubicBezTo>
                    <a:pt x="1118" y="182"/>
                    <a:pt x="1118" y="153"/>
                    <a:pt x="1118" y="131"/>
                  </a:cubicBezTo>
                  <a:cubicBezTo>
                    <a:pt x="1120" y="120"/>
                    <a:pt x="1121" y="111"/>
                    <a:pt x="1121" y="104"/>
                  </a:cubicBezTo>
                  <a:cubicBezTo>
                    <a:pt x="1121" y="93"/>
                    <a:pt x="1117" y="76"/>
                    <a:pt x="1093" y="84"/>
                  </a:cubicBezTo>
                  <a:cubicBezTo>
                    <a:pt x="1094" y="163"/>
                    <a:pt x="1078" y="211"/>
                    <a:pt x="1061" y="211"/>
                  </a:cubicBezTo>
                  <a:cubicBezTo>
                    <a:pt x="1035" y="211"/>
                    <a:pt x="1034" y="139"/>
                    <a:pt x="1034" y="120"/>
                  </a:cubicBezTo>
                  <a:cubicBezTo>
                    <a:pt x="1034" y="101"/>
                    <a:pt x="1036" y="75"/>
                    <a:pt x="1007" y="84"/>
                  </a:cubicBezTo>
                  <a:cubicBezTo>
                    <a:pt x="1003" y="153"/>
                    <a:pt x="985" y="204"/>
                    <a:pt x="974" y="204"/>
                  </a:cubicBezTo>
                  <a:cubicBezTo>
                    <a:pt x="957" y="204"/>
                    <a:pt x="960" y="86"/>
                    <a:pt x="924" y="86"/>
                  </a:cubicBezTo>
                  <a:cubicBezTo>
                    <a:pt x="891" y="86"/>
                    <a:pt x="881" y="198"/>
                    <a:pt x="874" y="198"/>
                  </a:cubicBezTo>
                  <a:cubicBezTo>
                    <a:pt x="861" y="198"/>
                    <a:pt x="877" y="72"/>
                    <a:pt x="830" y="72"/>
                  </a:cubicBezTo>
                  <a:cubicBezTo>
                    <a:pt x="805" y="72"/>
                    <a:pt x="795" y="114"/>
                    <a:pt x="785" y="161"/>
                  </a:cubicBezTo>
                  <a:cubicBezTo>
                    <a:pt x="784" y="170"/>
                    <a:pt x="782" y="171"/>
                    <a:pt x="781" y="160"/>
                  </a:cubicBezTo>
                  <a:cubicBezTo>
                    <a:pt x="781" y="152"/>
                    <a:pt x="781" y="142"/>
                    <a:pt x="781" y="134"/>
                  </a:cubicBezTo>
                  <a:cubicBezTo>
                    <a:pt x="793" y="86"/>
                    <a:pt x="778" y="69"/>
                    <a:pt x="756" y="81"/>
                  </a:cubicBezTo>
                  <a:cubicBezTo>
                    <a:pt x="763" y="169"/>
                    <a:pt x="723" y="212"/>
                    <a:pt x="692" y="212"/>
                  </a:cubicBezTo>
                  <a:cubicBezTo>
                    <a:pt x="681" y="212"/>
                    <a:pt x="672" y="207"/>
                    <a:pt x="666" y="200"/>
                  </a:cubicBezTo>
                  <a:cubicBezTo>
                    <a:pt x="703" y="177"/>
                    <a:pt x="719" y="151"/>
                    <a:pt x="719" y="126"/>
                  </a:cubicBezTo>
                  <a:cubicBezTo>
                    <a:pt x="719" y="98"/>
                    <a:pt x="704" y="82"/>
                    <a:pt x="677" y="82"/>
                  </a:cubicBezTo>
                  <a:cubicBezTo>
                    <a:pt x="640" y="82"/>
                    <a:pt x="620" y="120"/>
                    <a:pt x="620" y="152"/>
                  </a:cubicBezTo>
                  <a:cubicBezTo>
                    <a:pt x="620" y="169"/>
                    <a:pt x="623" y="184"/>
                    <a:pt x="628" y="196"/>
                  </a:cubicBezTo>
                  <a:cubicBezTo>
                    <a:pt x="616" y="202"/>
                    <a:pt x="604" y="207"/>
                    <a:pt x="593" y="212"/>
                  </a:cubicBezTo>
                  <a:cubicBezTo>
                    <a:pt x="592" y="179"/>
                    <a:pt x="588" y="145"/>
                    <a:pt x="585" y="113"/>
                  </a:cubicBezTo>
                  <a:cubicBezTo>
                    <a:pt x="566" y="107"/>
                    <a:pt x="560" y="117"/>
                    <a:pt x="559" y="134"/>
                  </a:cubicBezTo>
                  <a:cubicBezTo>
                    <a:pt x="555" y="174"/>
                    <a:pt x="540" y="198"/>
                    <a:pt x="527" y="198"/>
                  </a:cubicBezTo>
                  <a:cubicBezTo>
                    <a:pt x="518" y="198"/>
                    <a:pt x="512" y="186"/>
                    <a:pt x="511" y="174"/>
                  </a:cubicBezTo>
                  <a:cubicBezTo>
                    <a:pt x="507" y="110"/>
                    <a:pt x="559" y="92"/>
                    <a:pt x="586" y="102"/>
                  </a:cubicBezTo>
                  <a:cubicBezTo>
                    <a:pt x="592" y="88"/>
                    <a:pt x="585" y="77"/>
                    <a:pt x="561" y="77"/>
                  </a:cubicBezTo>
                  <a:cubicBezTo>
                    <a:pt x="531" y="77"/>
                    <a:pt x="509" y="95"/>
                    <a:pt x="493" y="118"/>
                  </a:cubicBezTo>
                  <a:cubicBezTo>
                    <a:pt x="482" y="134"/>
                    <a:pt x="470" y="145"/>
                    <a:pt x="453" y="158"/>
                  </a:cubicBezTo>
                  <a:cubicBezTo>
                    <a:pt x="454" y="154"/>
                    <a:pt x="454" y="150"/>
                    <a:pt x="454" y="147"/>
                  </a:cubicBezTo>
                  <a:cubicBezTo>
                    <a:pt x="454" y="102"/>
                    <a:pt x="430" y="82"/>
                    <a:pt x="406" y="82"/>
                  </a:cubicBezTo>
                  <a:cubicBezTo>
                    <a:pt x="387" y="82"/>
                    <a:pt x="375" y="94"/>
                    <a:pt x="368" y="111"/>
                  </a:cubicBezTo>
                  <a:cubicBezTo>
                    <a:pt x="366" y="94"/>
                    <a:pt x="363" y="86"/>
                    <a:pt x="353" y="86"/>
                  </a:cubicBezTo>
                  <a:cubicBezTo>
                    <a:pt x="348" y="86"/>
                    <a:pt x="342" y="87"/>
                    <a:pt x="335" y="90"/>
                  </a:cubicBezTo>
                  <a:cubicBezTo>
                    <a:pt x="338" y="100"/>
                    <a:pt x="340" y="122"/>
                    <a:pt x="340" y="137"/>
                  </a:cubicBezTo>
                  <a:cubicBezTo>
                    <a:pt x="340" y="191"/>
                    <a:pt x="324" y="215"/>
                    <a:pt x="309" y="215"/>
                  </a:cubicBezTo>
                  <a:cubicBezTo>
                    <a:pt x="292" y="215"/>
                    <a:pt x="290" y="151"/>
                    <a:pt x="288" y="126"/>
                  </a:cubicBezTo>
                  <a:cubicBezTo>
                    <a:pt x="286" y="125"/>
                    <a:pt x="284" y="124"/>
                    <a:pt x="280" y="124"/>
                  </a:cubicBezTo>
                  <a:cubicBezTo>
                    <a:pt x="264" y="124"/>
                    <a:pt x="262" y="145"/>
                    <a:pt x="259" y="164"/>
                  </a:cubicBezTo>
                  <a:cubicBezTo>
                    <a:pt x="254" y="185"/>
                    <a:pt x="242" y="211"/>
                    <a:pt x="224" y="211"/>
                  </a:cubicBezTo>
                  <a:cubicBezTo>
                    <a:pt x="214" y="211"/>
                    <a:pt x="207" y="201"/>
                    <a:pt x="206" y="182"/>
                  </a:cubicBezTo>
                  <a:cubicBezTo>
                    <a:pt x="204" y="144"/>
                    <a:pt x="236" y="99"/>
                    <a:pt x="286" y="113"/>
                  </a:cubicBezTo>
                  <a:cubicBezTo>
                    <a:pt x="292" y="98"/>
                    <a:pt x="282" y="86"/>
                    <a:pt x="261" y="86"/>
                  </a:cubicBezTo>
                  <a:cubicBezTo>
                    <a:pt x="225" y="86"/>
                    <a:pt x="195" y="113"/>
                    <a:pt x="182" y="145"/>
                  </a:cubicBezTo>
                  <a:cubicBezTo>
                    <a:pt x="169" y="175"/>
                    <a:pt x="145" y="218"/>
                    <a:pt x="98" y="218"/>
                  </a:cubicBezTo>
                  <a:cubicBezTo>
                    <a:pt x="65" y="218"/>
                    <a:pt x="39" y="189"/>
                    <a:pt x="39" y="128"/>
                  </a:cubicBezTo>
                  <a:cubicBezTo>
                    <a:pt x="39" y="75"/>
                    <a:pt x="72" y="25"/>
                    <a:pt x="108" y="25"/>
                  </a:cubicBezTo>
                  <a:cubicBezTo>
                    <a:pt x="132" y="25"/>
                    <a:pt x="138" y="50"/>
                    <a:pt x="136" y="72"/>
                  </a:cubicBezTo>
                  <a:cubicBezTo>
                    <a:pt x="149" y="83"/>
                    <a:pt x="170" y="73"/>
                    <a:pt x="170" y="47"/>
                  </a:cubicBezTo>
                  <a:cubicBezTo>
                    <a:pt x="170" y="30"/>
                    <a:pt x="156" y="0"/>
                    <a:pt x="109" y="0"/>
                  </a:cubicBezTo>
                  <a:cubicBezTo>
                    <a:pt x="51" y="0"/>
                    <a:pt x="0" y="57"/>
                    <a:pt x="0" y="132"/>
                  </a:cubicBezTo>
                  <a:cubicBezTo>
                    <a:pt x="0" y="206"/>
                    <a:pt x="38" y="249"/>
                    <a:pt x="90" y="249"/>
                  </a:cubicBezTo>
                  <a:cubicBezTo>
                    <a:pt x="123" y="249"/>
                    <a:pt x="154" y="230"/>
                    <a:pt x="176" y="195"/>
                  </a:cubicBezTo>
                  <a:cubicBezTo>
                    <a:pt x="181" y="226"/>
                    <a:pt x="202" y="238"/>
                    <a:pt x="218" y="238"/>
                  </a:cubicBezTo>
                  <a:cubicBezTo>
                    <a:pt x="243" y="238"/>
                    <a:pt x="260" y="222"/>
                    <a:pt x="269" y="200"/>
                  </a:cubicBezTo>
                  <a:cubicBezTo>
                    <a:pt x="274" y="222"/>
                    <a:pt x="286" y="238"/>
                    <a:pt x="306" y="238"/>
                  </a:cubicBezTo>
                  <a:cubicBezTo>
                    <a:pt x="320" y="238"/>
                    <a:pt x="330" y="231"/>
                    <a:pt x="339" y="220"/>
                  </a:cubicBezTo>
                  <a:cubicBezTo>
                    <a:pt x="335" y="297"/>
                    <a:pt x="331" y="346"/>
                    <a:pt x="377" y="337"/>
                  </a:cubicBezTo>
                  <a:cubicBezTo>
                    <a:pt x="370" y="315"/>
                    <a:pt x="368" y="275"/>
                    <a:pt x="368" y="239"/>
                  </a:cubicBezTo>
                  <a:cubicBezTo>
                    <a:pt x="368" y="141"/>
                    <a:pt x="384" y="109"/>
                    <a:pt x="404" y="109"/>
                  </a:cubicBezTo>
                  <a:cubicBezTo>
                    <a:pt x="419" y="109"/>
                    <a:pt x="423" y="128"/>
                    <a:pt x="423" y="148"/>
                  </a:cubicBezTo>
                  <a:cubicBezTo>
                    <a:pt x="423" y="158"/>
                    <a:pt x="422" y="170"/>
                    <a:pt x="420" y="182"/>
                  </a:cubicBezTo>
                  <a:cubicBezTo>
                    <a:pt x="395" y="197"/>
                    <a:pt x="375" y="210"/>
                    <a:pt x="375" y="225"/>
                  </a:cubicBezTo>
                  <a:cubicBezTo>
                    <a:pt x="375" y="238"/>
                    <a:pt x="384" y="239"/>
                    <a:pt x="392" y="239"/>
                  </a:cubicBezTo>
                  <a:cubicBezTo>
                    <a:pt x="411" y="239"/>
                    <a:pt x="434" y="220"/>
                    <a:pt x="447" y="185"/>
                  </a:cubicBezTo>
                  <a:cubicBezTo>
                    <a:pt x="458" y="178"/>
                    <a:pt x="469" y="170"/>
                    <a:pt x="480" y="160"/>
                  </a:cubicBezTo>
                  <a:cubicBezTo>
                    <a:pt x="480" y="164"/>
                    <a:pt x="479" y="167"/>
                    <a:pt x="479" y="171"/>
                  </a:cubicBezTo>
                  <a:cubicBezTo>
                    <a:pt x="479" y="206"/>
                    <a:pt x="495" y="227"/>
                    <a:pt x="519" y="227"/>
                  </a:cubicBezTo>
                  <a:cubicBezTo>
                    <a:pt x="538" y="227"/>
                    <a:pt x="553" y="214"/>
                    <a:pt x="563" y="193"/>
                  </a:cubicBezTo>
                  <a:cubicBezTo>
                    <a:pt x="564" y="205"/>
                    <a:pt x="564" y="216"/>
                    <a:pt x="564" y="226"/>
                  </a:cubicBezTo>
                  <a:cubicBezTo>
                    <a:pt x="525" y="244"/>
                    <a:pt x="482" y="262"/>
                    <a:pt x="482" y="313"/>
                  </a:cubicBezTo>
                  <a:cubicBezTo>
                    <a:pt x="482" y="339"/>
                    <a:pt x="501" y="359"/>
                    <a:pt x="526" y="359"/>
                  </a:cubicBezTo>
                  <a:cubicBezTo>
                    <a:pt x="580" y="359"/>
                    <a:pt x="593" y="302"/>
                    <a:pt x="593" y="235"/>
                  </a:cubicBezTo>
                  <a:cubicBezTo>
                    <a:pt x="611" y="227"/>
                    <a:pt x="624" y="222"/>
                    <a:pt x="639" y="214"/>
                  </a:cubicBezTo>
                  <a:cubicBezTo>
                    <a:pt x="652" y="230"/>
                    <a:pt x="670" y="238"/>
                    <a:pt x="686" y="238"/>
                  </a:cubicBezTo>
                  <a:cubicBezTo>
                    <a:pt x="717" y="238"/>
                    <a:pt x="740" y="222"/>
                    <a:pt x="758" y="189"/>
                  </a:cubicBezTo>
                  <a:cubicBezTo>
                    <a:pt x="762" y="214"/>
                    <a:pt x="768" y="238"/>
                    <a:pt x="781" y="238"/>
                  </a:cubicBezTo>
                  <a:cubicBezTo>
                    <a:pt x="806" y="238"/>
                    <a:pt x="811" y="111"/>
                    <a:pt x="829" y="111"/>
                  </a:cubicBezTo>
                  <a:cubicBezTo>
                    <a:pt x="843" y="111"/>
                    <a:pt x="831" y="249"/>
                    <a:pt x="868" y="249"/>
                  </a:cubicBezTo>
                  <a:cubicBezTo>
                    <a:pt x="899" y="249"/>
                    <a:pt x="905" y="128"/>
                    <a:pt x="920" y="128"/>
                  </a:cubicBezTo>
                  <a:cubicBezTo>
                    <a:pt x="931" y="128"/>
                    <a:pt x="932" y="238"/>
                    <a:pt x="966" y="238"/>
                  </a:cubicBezTo>
                  <a:cubicBezTo>
                    <a:pt x="983" y="238"/>
                    <a:pt x="1001" y="218"/>
                    <a:pt x="1010" y="176"/>
                  </a:cubicBezTo>
                  <a:cubicBezTo>
                    <a:pt x="1014" y="204"/>
                    <a:pt x="1028" y="238"/>
                    <a:pt x="1056" y="238"/>
                  </a:cubicBezTo>
                  <a:cubicBezTo>
                    <a:pt x="1072" y="238"/>
                    <a:pt x="1086" y="222"/>
                    <a:pt x="1097" y="200"/>
                  </a:cubicBezTo>
                  <a:cubicBezTo>
                    <a:pt x="1100" y="223"/>
                    <a:pt x="1106" y="238"/>
                    <a:pt x="1118" y="238"/>
                  </a:cubicBezTo>
                  <a:cubicBezTo>
                    <a:pt x="1150" y="238"/>
                    <a:pt x="1149" y="112"/>
                    <a:pt x="1174" y="112"/>
                  </a:cubicBezTo>
                  <a:cubicBezTo>
                    <a:pt x="1194" y="112"/>
                    <a:pt x="1188" y="238"/>
                    <a:pt x="1235" y="238"/>
                  </a:cubicBezTo>
                  <a:cubicBezTo>
                    <a:pt x="1257" y="238"/>
                    <a:pt x="1268" y="220"/>
                    <a:pt x="1274" y="196"/>
                  </a:cubicBezTo>
                  <a:cubicBezTo>
                    <a:pt x="1283" y="231"/>
                    <a:pt x="1297" y="238"/>
                    <a:pt x="1308" y="238"/>
                  </a:cubicBezTo>
                  <a:cubicBezTo>
                    <a:pt x="1315" y="238"/>
                    <a:pt x="1321" y="236"/>
                    <a:pt x="1328" y="227"/>
                  </a:cubicBezTo>
                  <a:cubicBezTo>
                    <a:pt x="1292" y="212"/>
                    <a:pt x="1295" y="155"/>
                    <a:pt x="1295" y="118"/>
                  </a:cubicBezTo>
                  <a:moveTo>
                    <a:pt x="528" y="335"/>
                  </a:moveTo>
                  <a:cubicBezTo>
                    <a:pt x="517" y="335"/>
                    <a:pt x="511" y="325"/>
                    <a:pt x="511" y="313"/>
                  </a:cubicBezTo>
                  <a:cubicBezTo>
                    <a:pt x="511" y="280"/>
                    <a:pt x="535" y="263"/>
                    <a:pt x="564" y="248"/>
                  </a:cubicBezTo>
                  <a:cubicBezTo>
                    <a:pt x="563" y="319"/>
                    <a:pt x="546" y="335"/>
                    <a:pt x="528" y="335"/>
                  </a:cubicBezTo>
                  <a:moveTo>
                    <a:pt x="674" y="105"/>
                  </a:moveTo>
                  <a:cubicBezTo>
                    <a:pt x="685" y="105"/>
                    <a:pt x="692" y="115"/>
                    <a:pt x="691" y="129"/>
                  </a:cubicBezTo>
                  <a:cubicBezTo>
                    <a:pt x="689" y="146"/>
                    <a:pt x="677" y="166"/>
                    <a:pt x="655" y="181"/>
                  </a:cubicBezTo>
                  <a:cubicBezTo>
                    <a:pt x="644" y="149"/>
                    <a:pt x="653" y="105"/>
                    <a:pt x="674" y="105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7" name="Freeform 13"/>
            <p:cNvSpPr>
              <a:spLocks/>
            </p:cNvSpPr>
            <p:nvPr userDrawn="1"/>
          </p:nvSpPr>
          <p:spPr bwMode="auto">
            <a:xfrm>
              <a:off x="4013200" y="4541838"/>
              <a:ext cx="120650" cy="127000"/>
            </a:xfrm>
            <a:custGeom>
              <a:avLst/>
              <a:gdLst/>
              <a:ahLst/>
              <a:cxnLst>
                <a:cxn ang="0">
                  <a:pos x="19" y="39"/>
                </a:cxn>
                <a:cxn ang="0">
                  <a:pos x="37" y="19"/>
                </a:cxn>
                <a:cxn ang="0">
                  <a:pos x="19" y="0"/>
                </a:cxn>
                <a:cxn ang="0">
                  <a:pos x="0" y="20"/>
                </a:cxn>
                <a:cxn ang="0">
                  <a:pos x="19" y="39"/>
                </a:cxn>
              </a:cxnLst>
              <a:rect l="0" t="0" r="r" b="b"/>
              <a:pathLst>
                <a:path w="37" h="39">
                  <a:moveTo>
                    <a:pt x="19" y="39"/>
                  </a:moveTo>
                  <a:cubicBezTo>
                    <a:pt x="30" y="38"/>
                    <a:pt x="37" y="29"/>
                    <a:pt x="37" y="19"/>
                  </a:cubicBezTo>
                  <a:cubicBezTo>
                    <a:pt x="37" y="8"/>
                    <a:pt x="30" y="0"/>
                    <a:pt x="19" y="0"/>
                  </a:cubicBezTo>
                  <a:cubicBezTo>
                    <a:pt x="9" y="1"/>
                    <a:pt x="0" y="9"/>
                    <a:pt x="0" y="20"/>
                  </a:cubicBezTo>
                  <a:cubicBezTo>
                    <a:pt x="0" y="31"/>
                    <a:pt x="9" y="39"/>
                    <a:pt x="19" y="39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8" name="Freeform 14"/>
            <p:cNvSpPr>
              <a:spLocks/>
            </p:cNvSpPr>
            <p:nvPr userDrawn="1"/>
          </p:nvSpPr>
          <p:spPr bwMode="auto">
            <a:xfrm>
              <a:off x="4870450" y="4564063"/>
              <a:ext cx="112713" cy="125413"/>
            </a:xfrm>
            <a:custGeom>
              <a:avLst/>
              <a:gdLst/>
              <a:ahLst/>
              <a:cxnLst>
                <a:cxn ang="0">
                  <a:pos x="17" y="37"/>
                </a:cxn>
                <a:cxn ang="0">
                  <a:pos x="34" y="18"/>
                </a:cxn>
                <a:cxn ang="0">
                  <a:pos x="17" y="0"/>
                </a:cxn>
                <a:cxn ang="0">
                  <a:pos x="0" y="19"/>
                </a:cxn>
                <a:cxn ang="0">
                  <a:pos x="17" y="37"/>
                </a:cxn>
              </a:cxnLst>
              <a:rect l="0" t="0" r="r" b="b"/>
              <a:pathLst>
                <a:path w="34" h="38">
                  <a:moveTo>
                    <a:pt x="17" y="37"/>
                  </a:moveTo>
                  <a:cubicBezTo>
                    <a:pt x="26" y="37"/>
                    <a:pt x="34" y="28"/>
                    <a:pt x="34" y="18"/>
                  </a:cubicBezTo>
                  <a:cubicBezTo>
                    <a:pt x="34" y="8"/>
                    <a:pt x="26" y="0"/>
                    <a:pt x="17" y="0"/>
                  </a:cubicBezTo>
                  <a:cubicBezTo>
                    <a:pt x="7" y="1"/>
                    <a:pt x="0" y="9"/>
                    <a:pt x="0" y="19"/>
                  </a:cubicBezTo>
                  <a:cubicBezTo>
                    <a:pt x="0" y="30"/>
                    <a:pt x="7" y="38"/>
                    <a:pt x="17" y="37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9" name="Freeform 15"/>
            <p:cNvSpPr>
              <a:spLocks/>
            </p:cNvSpPr>
            <p:nvPr userDrawn="1"/>
          </p:nvSpPr>
          <p:spPr bwMode="auto">
            <a:xfrm>
              <a:off x="5143500" y="4465638"/>
              <a:ext cx="939800" cy="796925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0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8" y="210"/>
                </a:cxn>
                <a:cxn ang="0">
                  <a:pos x="240" y="111"/>
                </a:cxn>
                <a:cxn ang="0">
                  <a:pos x="287" y="154"/>
                </a:cxn>
                <a:cxn ang="0">
                  <a:pos x="286" y="152"/>
                </a:cxn>
              </a:cxnLst>
              <a:rect l="0" t="0" r="r" b="b"/>
              <a:pathLst>
                <a:path w="287" h="243">
                  <a:moveTo>
                    <a:pt x="286" y="152"/>
                  </a:moveTo>
                  <a:cubicBezTo>
                    <a:pt x="286" y="111"/>
                    <a:pt x="267" y="77"/>
                    <a:pt x="237" y="50"/>
                  </a:cubicBezTo>
                  <a:cubicBezTo>
                    <a:pt x="215" y="30"/>
                    <a:pt x="188" y="14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3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7" y="222"/>
                    <a:pt x="148" y="210"/>
                  </a:cubicBezTo>
                  <a:cubicBezTo>
                    <a:pt x="182" y="171"/>
                    <a:pt x="197" y="111"/>
                    <a:pt x="240" y="111"/>
                  </a:cubicBezTo>
                  <a:cubicBezTo>
                    <a:pt x="279" y="111"/>
                    <a:pt x="284" y="139"/>
                    <a:pt x="287" y="154"/>
                  </a:cubicBezTo>
                  <a:cubicBezTo>
                    <a:pt x="287" y="154"/>
                    <a:pt x="287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1950067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3339">
          <p15:clr>
            <a:srgbClr val="FBAE40"/>
          </p15:clr>
        </p15:guide>
        <p15:guide id="2" pos="257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389" name="Freeform 5"/>
          <p:cNvSpPr>
            <a:spLocks/>
          </p:cNvSpPr>
          <p:nvPr userDrawn="1"/>
        </p:nvSpPr>
        <p:spPr bwMode="auto">
          <a:xfrm>
            <a:off x="1009650" y="0"/>
            <a:ext cx="11182350" cy="6858000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7044" y="0"/>
              </a:cxn>
              <a:cxn ang="0">
                <a:pos x="7044" y="4320"/>
              </a:cxn>
              <a:cxn ang="0">
                <a:pos x="7040" y="4320"/>
              </a:cxn>
              <a:cxn ang="0">
                <a:pos x="4170" y="4320"/>
              </a:cxn>
              <a:cxn ang="0">
                <a:pos x="4150" y="4318"/>
              </a:cxn>
              <a:cxn ang="0">
                <a:pos x="4132" y="4308"/>
              </a:cxn>
              <a:cxn ang="0">
                <a:pos x="3522" y="3806"/>
              </a:cxn>
              <a:cxn ang="0">
                <a:pos x="3468" y="3760"/>
              </a:cxn>
              <a:cxn ang="0">
                <a:pos x="3416" y="3714"/>
              </a:cxn>
              <a:cxn ang="0">
                <a:pos x="3492" y="3568"/>
              </a:cxn>
              <a:cxn ang="0">
                <a:pos x="3522" y="3504"/>
              </a:cxn>
              <a:cxn ang="0">
                <a:pos x="3578" y="3378"/>
              </a:cxn>
              <a:cxn ang="0">
                <a:pos x="3622" y="3248"/>
              </a:cxn>
              <a:cxn ang="0">
                <a:pos x="3652" y="3116"/>
              </a:cxn>
              <a:cxn ang="0">
                <a:pos x="3664" y="3046"/>
              </a:cxn>
              <a:cxn ang="0">
                <a:pos x="3670" y="2964"/>
              </a:cxn>
              <a:cxn ang="0">
                <a:pos x="3670" y="2884"/>
              </a:cxn>
              <a:cxn ang="0">
                <a:pos x="3662" y="2802"/>
              </a:cxn>
              <a:cxn ang="0">
                <a:pos x="3648" y="2722"/>
              </a:cxn>
              <a:cxn ang="0">
                <a:pos x="3632" y="2666"/>
              </a:cxn>
              <a:cxn ang="0">
                <a:pos x="3590" y="2560"/>
              </a:cxn>
              <a:cxn ang="0">
                <a:pos x="3536" y="2460"/>
              </a:cxn>
              <a:cxn ang="0">
                <a:pos x="3470" y="2366"/>
              </a:cxn>
              <a:cxn ang="0">
                <a:pos x="3434" y="2322"/>
              </a:cxn>
              <a:cxn ang="0">
                <a:pos x="3338" y="2220"/>
              </a:cxn>
              <a:cxn ang="0">
                <a:pos x="3236" y="2130"/>
              </a:cxn>
              <a:cxn ang="0">
                <a:pos x="3126" y="2046"/>
              </a:cxn>
              <a:cxn ang="0">
                <a:pos x="3012" y="1966"/>
              </a:cxn>
              <a:cxn ang="0">
                <a:pos x="2932" y="1916"/>
              </a:cxn>
              <a:cxn ang="0">
                <a:pos x="2766" y="1818"/>
              </a:cxn>
              <a:cxn ang="0">
                <a:pos x="2598" y="1728"/>
              </a:cxn>
              <a:cxn ang="0">
                <a:pos x="2340" y="1602"/>
              </a:cxn>
              <a:cxn ang="0">
                <a:pos x="2198" y="1536"/>
              </a:cxn>
              <a:cxn ang="0">
                <a:pos x="1772" y="1348"/>
              </a:cxn>
              <a:cxn ang="0">
                <a:pos x="1200" y="1106"/>
              </a:cxn>
              <a:cxn ang="0">
                <a:pos x="1118" y="1070"/>
              </a:cxn>
              <a:cxn ang="0">
                <a:pos x="954" y="994"/>
              </a:cxn>
              <a:cxn ang="0">
                <a:pos x="798" y="908"/>
              </a:cxn>
              <a:cxn ang="0">
                <a:pos x="646" y="814"/>
              </a:cxn>
              <a:cxn ang="0">
                <a:pos x="572" y="760"/>
              </a:cxn>
              <a:cxn ang="0">
                <a:pos x="448" y="658"/>
              </a:cxn>
              <a:cxn ang="0">
                <a:pos x="332" y="548"/>
              </a:cxn>
              <a:cxn ang="0">
                <a:pos x="228" y="426"/>
              </a:cxn>
              <a:cxn ang="0">
                <a:pos x="136" y="292"/>
              </a:cxn>
              <a:cxn ang="0">
                <a:pos x="94" y="222"/>
              </a:cxn>
              <a:cxn ang="0">
                <a:pos x="58" y="150"/>
              </a:cxn>
              <a:cxn ang="0">
                <a:pos x="28" y="76"/>
              </a:cxn>
              <a:cxn ang="0">
                <a:pos x="0" y="0"/>
              </a:cxn>
            </a:cxnLst>
            <a:rect l="0" t="0" r="r" b="b"/>
            <a:pathLst>
              <a:path w="7044" h="4320">
                <a:moveTo>
                  <a:pt x="0" y="0"/>
                </a:moveTo>
                <a:lnTo>
                  <a:pt x="0" y="0"/>
                </a:lnTo>
                <a:lnTo>
                  <a:pt x="7044" y="0"/>
                </a:lnTo>
                <a:lnTo>
                  <a:pt x="7044" y="0"/>
                </a:lnTo>
                <a:lnTo>
                  <a:pt x="7044" y="4320"/>
                </a:lnTo>
                <a:lnTo>
                  <a:pt x="7044" y="4320"/>
                </a:lnTo>
                <a:lnTo>
                  <a:pt x="7040" y="4320"/>
                </a:lnTo>
                <a:lnTo>
                  <a:pt x="7040" y="4320"/>
                </a:lnTo>
                <a:lnTo>
                  <a:pt x="4170" y="4320"/>
                </a:lnTo>
                <a:lnTo>
                  <a:pt x="4170" y="4320"/>
                </a:lnTo>
                <a:lnTo>
                  <a:pt x="4160" y="4320"/>
                </a:lnTo>
                <a:lnTo>
                  <a:pt x="4150" y="4318"/>
                </a:lnTo>
                <a:lnTo>
                  <a:pt x="4140" y="4314"/>
                </a:lnTo>
                <a:lnTo>
                  <a:pt x="4132" y="4308"/>
                </a:lnTo>
                <a:lnTo>
                  <a:pt x="4132" y="4308"/>
                </a:lnTo>
                <a:lnTo>
                  <a:pt x="3522" y="3806"/>
                </a:lnTo>
                <a:lnTo>
                  <a:pt x="3522" y="3806"/>
                </a:lnTo>
                <a:lnTo>
                  <a:pt x="3468" y="3760"/>
                </a:lnTo>
                <a:lnTo>
                  <a:pt x="3416" y="3714"/>
                </a:lnTo>
                <a:lnTo>
                  <a:pt x="3416" y="3714"/>
                </a:lnTo>
                <a:lnTo>
                  <a:pt x="3454" y="3640"/>
                </a:lnTo>
                <a:lnTo>
                  <a:pt x="3492" y="3568"/>
                </a:lnTo>
                <a:lnTo>
                  <a:pt x="3492" y="3568"/>
                </a:lnTo>
                <a:lnTo>
                  <a:pt x="3522" y="3504"/>
                </a:lnTo>
                <a:lnTo>
                  <a:pt x="3552" y="3442"/>
                </a:lnTo>
                <a:lnTo>
                  <a:pt x="3578" y="3378"/>
                </a:lnTo>
                <a:lnTo>
                  <a:pt x="3600" y="3314"/>
                </a:lnTo>
                <a:lnTo>
                  <a:pt x="3622" y="3248"/>
                </a:lnTo>
                <a:lnTo>
                  <a:pt x="3638" y="3182"/>
                </a:lnTo>
                <a:lnTo>
                  <a:pt x="3652" y="3116"/>
                </a:lnTo>
                <a:lnTo>
                  <a:pt x="3664" y="3046"/>
                </a:lnTo>
                <a:lnTo>
                  <a:pt x="3664" y="3046"/>
                </a:lnTo>
                <a:lnTo>
                  <a:pt x="3668" y="3006"/>
                </a:lnTo>
                <a:lnTo>
                  <a:pt x="3670" y="2964"/>
                </a:lnTo>
                <a:lnTo>
                  <a:pt x="3670" y="2924"/>
                </a:lnTo>
                <a:lnTo>
                  <a:pt x="3670" y="2884"/>
                </a:lnTo>
                <a:lnTo>
                  <a:pt x="3666" y="2844"/>
                </a:lnTo>
                <a:lnTo>
                  <a:pt x="3662" y="2802"/>
                </a:lnTo>
                <a:lnTo>
                  <a:pt x="3656" y="2762"/>
                </a:lnTo>
                <a:lnTo>
                  <a:pt x="3648" y="2722"/>
                </a:lnTo>
                <a:lnTo>
                  <a:pt x="3648" y="2722"/>
                </a:lnTo>
                <a:lnTo>
                  <a:pt x="3632" y="2666"/>
                </a:lnTo>
                <a:lnTo>
                  <a:pt x="3612" y="2612"/>
                </a:lnTo>
                <a:lnTo>
                  <a:pt x="3590" y="2560"/>
                </a:lnTo>
                <a:lnTo>
                  <a:pt x="3564" y="2508"/>
                </a:lnTo>
                <a:lnTo>
                  <a:pt x="3536" y="2460"/>
                </a:lnTo>
                <a:lnTo>
                  <a:pt x="3504" y="2412"/>
                </a:lnTo>
                <a:lnTo>
                  <a:pt x="3470" y="2366"/>
                </a:lnTo>
                <a:lnTo>
                  <a:pt x="3434" y="2322"/>
                </a:lnTo>
                <a:lnTo>
                  <a:pt x="3434" y="2322"/>
                </a:lnTo>
                <a:lnTo>
                  <a:pt x="3388" y="2270"/>
                </a:lnTo>
                <a:lnTo>
                  <a:pt x="3338" y="2220"/>
                </a:lnTo>
                <a:lnTo>
                  <a:pt x="3288" y="2174"/>
                </a:lnTo>
                <a:lnTo>
                  <a:pt x="3236" y="2130"/>
                </a:lnTo>
                <a:lnTo>
                  <a:pt x="3182" y="2086"/>
                </a:lnTo>
                <a:lnTo>
                  <a:pt x="3126" y="2046"/>
                </a:lnTo>
                <a:lnTo>
                  <a:pt x="3070" y="2006"/>
                </a:lnTo>
                <a:lnTo>
                  <a:pt x="3012" y="1966"/>
                </a:lnTo>
                <a:lnTo>
                  <a:pt x="3012" y="1966"/>
                </a:lnTo>
                <a:lnTo>
                  <a:pt x="2932" y="1916"/>
                </a:lnTo>
                <a:lnTo>
                  <a:pt x="2850" y="1866"/>
                </a:lnTo>
                <a:lnTo>
                  <a:pt x="2766" y="1818"/>
                </a:lnTo>
                <a:lnTo>
                  <a:pt x="2682" y="1772"/>
                </a:lnTo>
                <a:lnTo>
                  <a:pt x="2598" y="1728"/>
                </a:lnTo>
                <a:lnTo>
                  <a:pt x="2512" y="1686"/>
                </a:lnTo>
                <a:lnTo>
                  <a:pt x="2340" y="1602"/>
                </a:lnTo>
                <a:lnTo>
                  <a:pt x="2340" y="1602"/>
                </a:lnTo>
                <a:lnTo>
                  <a:pt x="2198" y="1536"/>
                </a:lnTo>
                <a:lnTo>
                  <a:pt x="2056" y="1472"/>
                </a:lnTo>
                <a:lnTo>
                  <a:pt x="1772" y="1348"/>
                </a:lnTo>
                <a:lnTo>
                  <a:pt x="1486" y="1226"/>
                </a:lnTo>
                <a:lnTo>
                  <a:pt x="1200" y="1106"/>
                </a:lnTo>
                <a:lnTo>
                  <a:pt x="1200" y="1106"/>
                </a:lnTo>
                <a:lnTo>
                  <a:pt x="1118" y="1070"/>
                </a:lnTo>
                <a:lnTo>
                  <a:pt x="1036" y="1034"/>
                </a:lnTo>
                <a:lnTo>
                  <a:pt x="954" y="994"/>
                </a:lnTo>
                <a:lnTo>
                  <a:pt x="876" y="952"/>
                </a:lnTo>
                <a:lnTo>
                  <a:pt x="798" y="908"/>
                </a:lnTo>
                <a:lnTo>
                  <a:pt x="720" y="862"/>
                </a:lnTo>
                <a:lnTo>
                  <a:pt x="646" y="814"/>
                </a:lnTo>
                <a:lnTo>
                  <a:pt x="572" y="760"/>
                </a:lnTo>
                <a:lnTo>
                  <a:pt x="572" y="760"/>
                </a:lnTo>
                <a:lnTo>
                  <a:pt x="508" y="710"/>
                </a:lnTo>
                <a:lnTo>
                  <a:pt x="448" y="658"/>
                </a:lnTo>
                <a:lnTo>
                  <a:pt x="388" y="604"/>
                </a:lnTo>
                <a:lnTo>
                  <a:pt x="332" y="548"/>
                </a:lnTo>
                <a:lnTo>
                  <a:pt x="278" y="488"/>
                </a:lnTo>
                <a:lnTo>
                  <a:pt x="228" y="426"/>
                </a:lnTo>
                <a:lnTo>
                  <a:pt x="180" y="360"/>
                </a:lnTo>
                <a:lnTo>
                  <a:pt x="136" y="292"/>
                </a:lnTo>
                <a:lnTo>
                  <a:pt x="136" y="292"/>
                </a:lnTo>
                <a:lnTo>
                  <a:pt x="94" y="222"/>
                </a:lnTo>
                <a:lnTo>
                  <a:pt x="76" y="186"/>
                </a:lnTo>
                <a:lnTo>
                  <a:pt x="58" y="150"/>
                </a:lnTo>
                <a:lnTo>
                  <a:pt x="42" y="114"/>
                </a:lnTo>
                <a:lnTo>
                  <a:pt x="28" y="76"/>
                </a:lnTo>
                <a:lnTo>
                  <a:pt x="14" y="38"/>
                </a:lnTo>
                <a:lnTo>
                  <a:pt x="0" y="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prstClr val="black"/>
              </a:solidFill>
            </a:endParaRPr>
          </a:p>
        </p:txBody>
      </p:sp>
      <p:grpSp>
        <p:nvGrpSpPr>
          <p:cNvPr id="15" name="Group 14"/>
          <p:cNvGrpSpPr>
            <a:grpSpLocks noChangeAspect="1"/>
          </p:cNvGrpSpPr>
          <p:nvPr userDrawn="1"/>
        </p:nvGrpSpPr>
        <p:grpSpPr>
          <a:xfrm>
            <a:off x="416888" y="4537346"/>
            <a:ext cx="5040000" cy="1123654"/>
            <a:chOff x="728663" y="4465638"/>
            <a:chExt cx="5354637" cy="1193801"/>
          </a:xfrm>
        </p:grpSpPr>
        <p:sp>
          <p:nvSpPr>
            <p:cNvPr id="16" name="Freeform 11"/>
            <p:cNvSpPr>
              <a:spLocks/>
            </p:cNvSpPr>
            <p:nvPr userDrawn="1"/>
          </p:nvSpPr>
          <p:spPr bwMode="auto">
            <a:xfrm>
              <a:off x="5464175" y="4830763"/>
              <a:ext cx="619125" cy="503238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9" y="43"/>
                </a:cxn>
                <a:cxn ang="0">
                  <a:pos x="142" y="0"/>
                </a:cxn>
                <a:cxn ang="0">
                  <a:pos x="50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5"/>
                </a:cxn>
                <a:cxn ang="0">
                  <a:pos x="125" y="107"/>
                </a:cxn>
              </a:cxnLst>
              <a:rect l="0" t="0" r="r" b="b"/>
              <a:pathLst>
                <a:path w="189" h="154">
                  <a:moveTo>
                    <a:pt x="125" y="107"/>
                  </a:moveTo>
                  <a:cubicBezTo>
                    <a:pt x="161" y="107"/>
                    <a:pt x="188" y="78"/>
                    <a:pt x="189" y="43"/>
                  </a:cubicBezTo>
                  <a:cubicBezTo>
                    <a:pt x="186" y="28"/>
                    <a:pt x="181" y="0"/>
                    <a:pt x="142" y="0"/>
                  </a:cubicBezTo>
                  <a:cubicBezTo>
                    <a:pt x="99" y="0"/>
                    <a:pt x="84" y="60"/>
                    <a:pt x="50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5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7" name="Freeform 12"/>
            <p:cNvSpPr>
              <a:spLocks noEditPoints="1"/>
            </p:cNvSpPr>
            <p:nvPr userDrawn="1"/>
          </p:nvSpPr>
          <p:spPr bwMode="auto">
            <a:xfrm>
              <a:off x="728663" y="4483101"/>
              <a:ext cx="4352925" cy="1176338"/>
            </a:xfrm>
            <a:custGeom>
              <a:avLst/>
              <a:gdLst/>
              <a:ahLst/>
              <a:cxnLst>
                <a:cxn ang="0">
                  <a:pos x="1281" y="86"/>
                </a:cxn>
                <a:cxn ang="0">
                  <a:pos x="1240" y="210"/>
                </a:cxn>
                <a:cxn ang="0">
                  <a:pos x="1122" y="182"/>
                </a:cxn>
                <a:cxn ang="0">
                  <a:pos x="1121" y="104"/>
                </a:cxn>
                <a:cxn ang="0">
                  <a:pos x="1061" y="211"/>
                </a:cxn>
                <a:cxn ang="0">
                  <a:pos x="1007" y="84"/>
                </a:cxn>
                <a:cxn ang="0">
                  <a:pos x="924" y="86"/>
                </a:cxn>
                <a:cxn ang="0">
                  <a:pos x="830" y="72"/>
                </a:cxn>
                <a:cxn ang="0">
                  <a:pos x="781" y="160"/>
                </a:cxn>
                <a:cxn ang="0">
                  <a:pos x="756" y="81"/>
                </a:cxn>
                <a:cxn ang="0">
                  <a:pos x="666" y="200"/>
                </a:cxn>
                <a:cxn ang="0">
                  <a:pos x="677" y="82"/>
                </a:cxn>
                <a:cxn ang="0">
                  <a:pos x="628" y="196"/>
                </a:cxn>
                <a:cxn ang="0">
                  <a:pos x="585" y="113"/>
                </a:cxn>
                <a:cxn ang="0">
                  <a:pos x="527" y="198"/>
                </a:cxn>
                <a:cxn ang="0">
                  <a:pos x="586" y="102"/>
                </a:cxn>
                <a:cxn ang="0">
                  <a:pos x="493" y="118"/>
                </a:cxn>
                <a:cxn ang="0">
                  <a:pos x="454" y="147"/>
                </a:cxn>
                <a:cxn ang="0">
                  <a:pos x="368" y="111"/>
                </a:cxn>
                <a:cxn ang="0">
                  <a:pos x="335" y="90"/>
                </a:cxn>
                <a:cxn ang="0">
                  <a:pos x="309" y="215"/>
                </a:cxn>
                <a:cxn ang="0">
                  <a:pos x="280" y="124"/>
                </a:cxn>
                <a:cxn ang="0">
                  <a:pos x="224" y="211"/>
                </a:cxn>
                <a:cxn ang="0">
                  <a:pos x="286" y="113"/>
                </a:cxn>
                <a:cxn ang="0">
                  <a:pos x="182" y="145"/>
                </a:cxn>
                <a:cxn ang="0">
                  <a:pos x="39" y="128"/>
                </a:cxn>
                <a:cxn ang="0">
                  <a:pos x="136" y="72"/>
                </a:cxn>
                <a:cxn ang="0">
                  <a:pos x="109" y="0"/>
                </a:cxn>
                <a:cxn ang="0">
                  <a:pos x="90" y="249"/>
                </a:cxn>
                <a:cxn ang="0">
                  <a:pos x="218" y="238"/>
                </a:cxn>
                <a:cxn ang="0">
                  <a:pos x="306" y="238"/>
                </a:cxn>
                <a:cxn ang="0">
                  <a:pos x="377" y="337"/>
                </a:cxn>
                <a:cxn ang="0">
                  <a:pos x="404" y="109"/>
                </a:cxn>
                <a:cxn ang="0">
                  <a:pos x="420" y="182"/>
                </a:cxn>
                <a:cxn ang="0">
                  <a:pos x="392" y="239"/>
                </a:cxn>
                <a:cxn ang="0">
                  <a:pos x="480" y="160"/>
                </a:cxn>
                <a:cxn ang="0">
                  <a:pos x="519" y="227"/>
                </a:cxn>
                <a:cxn ang="0">
                  <a:pos x="564" y="226"/>
                </a:cxn>
                <a:cxn ang="0">
                  <a:pos x="526" y="359"/>
                </a:cxn>
                <a:cxn ang="0">
                  <a:pos x="639" y="214"/>
                </a:cxn>
                <a:cxn ang="0">
                  <a:pos x="758" y="189"/>
                </a:cxn>
                <a:cxn ang="0">
                  <a:pos x="829" y="111"/>
                </a:cxn>
                <a:cxn ang="0">
                  <a:pos x="920" y="128"/>
                </a:cxn>
                <a:cxn ang="0">
                  <a:pos x="1010" y="176"/>
                </a:cxn>
                <a:cxn ang="0">
                  <a:pos x="1097" y="200"/>
                </a:cxn>
                <a:cxn ang="0">
                  <a:pos x="1174" y="112"/>
                </a:cxn>
                <a:cxn ang="0">
                  <a:pos x="1274" y="196"/>
                </a:cxn>
                <a:cxn ang="0">
                  <a:pos x="1328" y="227"/>
                </a:cxn>
                <a:cxn ang="0">
                  <a:pos x="528" y="335"/>
                </a:cxn>
                <a:cxn ang="0">
                  <a:pos x="564" y="248"/>
                </a:cxn>
                <a:cxn ang="0">
                  <a:pos x="674" y="105"/>
                </a:cxn>
                <a:cxn ang="0">
                  <a:pos x="655" y="181"/>
                </a:cxn>
              </a:cxnLst>
              <a:rect l="0" t="0" r="r" b="b"/>
              <a:pathLst>
                <a:path w="1328" h="359">
                  <a:moveTo>
                    <a:pt x="1295" y="118"/>
                  </a:moveTo>
                  <a:cubicBezTo>
                    <a:pt x="1295" y="99"/>
                    <a:pt x="1294" y="86"/>
                    <a:pt x="1281" y="86"/>
                  </a:cubicBezTo>
                  <a:cubicBezTo>
                    <a:pt x="1275" y="86"/>
                    <a:pt x="1273" y="87"/>
                    <a:pt x="1268" y="89"/>
                  </a:cubicBezTo>
                  <a:cubicBezTo>
                    <a:pt x="1272" y="153"/>
                    <a:pt x="1258" y="210"/>
                    <a:pt x="1240" y="210"/>
                  </a:cubicBezTo>
                  <a:cubicBezTo>
                    <a:pt x="1217" y="210"/>
                    <a:pt x="1228" y="72"/>
                    <a:pt x="1179" y="72"/>
                  </a:cubicBezTo>
                  <a:cubicBezTo>
                    <a:pt x="1133" y="72"/>
                    <a:pt x="1127" y="182"/>
                    <a:pt x="1122" y="182"/>
                  </a:cubicBezTo>
                  <a:cubicBezTo>
                    <a:pt x="1118" y="182"/>
                    <a:pt x="1118" y="153"/>
                    <a:pt x="1118" y="131"/>
                  </a:cubicBezTo>
                  <a:cubicBezTo>
                    <a:pt x="1120" y="120"/>
                    <a:pt x="1121" y="111"/>
                    <a:pt x="1121" y="104"/>
                  </a:cubicBezTo>
                  <a:cubicBezTo>
                    <a:pt x="1121" y="93"/>
                    <a:pt x="1117" y="76"/>
                    <a:pt x="1093" y="84"/>
                  </a:cubicBezTo>
                  <a:cubicBezTo>
                    <a:pt x="1094" y="163"/>
                    <a:pt x="1078" y="211"/>
                    <a:pt x="1061" y="211"/>
                  </a:cubicBezTo>
                  <a:cubicBezTo>
                    <a:pt x="1035" y="211"/>
                    <a:pt x="1034" y="139"/>
                    <a:pt x="1034" y="120"/>
                  </a:cubicBezTo>
                  <a:cubicBezTo>
                    <a:pt x="1034" y="101"/>
                    <a:pt x="1036" y="75"/>
                    <a:pt x="1007" y="84"/>
                  </a:cubicBezTo>
                  <a:cubicBezTo>
                    <a:pt x="1003" y="153"/>
                    <a:pt x="985" y="204"/>
                    <a:pt x="974" y="204"/>
                  </a:cubicBezTo>
                  <a:cubicBezTo>
                    <a:pt x="957" y="204"/>
                    <a:pt x="960" y="86"/>
                    <a:pt x="924" y="86"/>
                  </a:cubicBezTo>
                  <a:cubicBezTo>
                    <a:pt x="891" y="86"/>
                    <a:pt x="881" y="198"/>
                    <a:pt x="874" y="198"/>
                  </a:cubicBezTo>
                  <a:cubicBezTo>
                    <a:pt x="861" y="198"/>
                    <a:pt x="877" y="72"/>
                    <a:pt x="830" y="72"/>
                  </a:cubicBezTo>
                  <a:cubicBezTo>
                    <a:pt x="805" y="72"/>
                    <a:pt x="795" y="114"/>
                    <a:pt x="785" y="161"/>
                  </a:cubicBezTo>
                  <a:cubicBezTo>
                    <a:pt x="784" y="170"/>
                    <a:pt x="782" y="171"/>
                    <a:pt x="781" y="160"/>
                  </a:cubicBezTo>
                  <a:cubicBezTo>
                    <a:pt x="781" y="152"/>
                    <a:pt x="781" y="142"/>
                    <a:pt x="781" y="134"/>
                  </a:cubicBezTo>
                  <a:cubicBezTo>
                    <a:pt x="793" y="86"/>
                    <a:pt x="778" y="69"/>
                    <a:pt x="756" y="81"/>
                  </a:cubicBezTo>
                  <a:cubicBezTo>
                    <a:pt x="763" y="169"/>
                    <a:pt x="723" y="212"/>
                    <a:pt x="692" y="212"/>
                  </a:cubicBezTo>
                  <a:cubicBezTo>
                    <a:pt x="681" y="212"/>
                    <a:pt x="672" y="207"/>
                    <a:pt x="666" y="200"/>
                  </a:cubicBezTo>
                  <a:cubicBezTo>
                    <a:pt x="703" y="177"/>
                    <a:pt x="719" y="151"/>
                    <a:pt x="719" y="126"/>
                  </a:cubicBezTo>
                  <a:cubicBezTo>
                    <a:pt x="719" y="98"/>
                    <a:pt x="704" y="82"/>
                    <a:pt x="677" y="82"/>
                  </a:cubicBezTo>
                  <a:cubicBezTo>
                    <a:pt x="640" y="82"/>
                    <a:pt x="620" y="120"/>
                    <a:pt x="620" y="152"/>
                  </a:cubicBezTo>
                  <a:cubicBezTo>
                    <a:pt x="620" y="169"/>
                    <a:pt x="623" y="184"/>
                    <a:pt x="628" y="196"/>
                  </a:cubicBezTo>
                  <a:cubicBezTo>
                    <a:pt x="616" y="202"/>
                    <a:pt x="604" y="207"/>
                    <a:pt x="593" y="212"/>
                  </a:cubicBezTo>
                  <a:cubicBezTo>
                    <a:pt x="592" y="179"/>
                    <a:pt x="588" y="145"/>
                    <a:pt x="585" y="113"/>
                  </a:cubicBezTo>
                  <a:cubicBezTo>
                    <a:pt x="566" y="107"/>
                    <a:pt x="560" y="117"/>
                    <a:pt x="559" y="134"/>
                  </a:cubicBezTo>
                  <a:cubicBezTo>
                    <a:pt x="555" y="174"/>
                    <a:pt x="540" y="198"/>
                    <a:pt x="527" y="198"/>
                  </a:cubicBezTo>
                  <a:cubicBezTo>
                    <a:pt x="518" y="198"/>
                    <a:pt x="512" y="186"/>
                    <a:pt x="511" y="174"/>
                  </a:cubicBezTo>
                  <a:cubicBezTo>
                    <a:pt x="507" y="110"/>
                    <a:pt x="559" y="92"/>
                    <a:pt x="586" y="102"/>
                  </a:cubicBezTo>
                  <a:cubicBezTo>
                    <a:pt x="592" y="88"/>
                    <a:pt x="585" y="77"/>
                    <a:pt x="561" y="77"/>
                  </a:cubicBezTo>
                  <a:cubicBezTo>
                    <a:pt x="531" y="77"/>
                    <a:pt x="509" y="95"/>
                    <a:pt x="493" y="118"/>
                  </a:cubicBezTo>
                  <a:cubicBezTo>
                    <a:pt x="482" y="134"/>
                    <a:pt x="470" y="145"/>
                    <a:pt x="453" y="158"/>
                  </a:cubicBezTo>
                  <a:cubicBezTo>
                    <a:pt x="454" y="154"/>
                    <a:pt x="454" y="150"/>
                    <a:pt x="454" y="147"/>
                  </a:cubicBezTo>
                  <a:cubicBezTo>
                    <a:pt x="454" y="102"/>
                    <a:pt x="430" y="82"/>
                    <a:pt x="406" y="82"/>
                  </a:cubicBezTo>
                  <a:cubicBezTo>
                    <a:pt x="387" y="82"/>
                    <a:pt x="375" y="94"/>
                    <a:pt x="368" y="111"/>
                  </a:cubicBezTo>
                  <a:cubicBezTo>
                    <a:pt x="366" y="94"/>
                    <a:pt x="363" y="86"/>
                    <a:pt x="353" y="86"/>
                  </a:cubicBezTo>
                  <a:cubicBezTo>
                    <a:pt x="348" y="86"/>
                    <a:pt x="342" y="87"/>
                    <a:pt x="335" y="90"/>
                  </a:cubicBezTo>
                  <a:cubicBezTo>
                    <a:pt x="338" y="100"/>
                    <a:pt x="340" y="122"/>
                    <a:pt x="340" y="137"/>
                  </a:cubicBezTo>
                  <a:cubicBezTo>
                    <a:pt x="340" y="191"/>
                    <a:pt x="324" y="215"/>
                    <a:pt x="309" y="215"/>
                  </a:cubicBezTo>
                  <a:cubicBezTo>
                    <a:pt x="292" y="215"/>
                    <a:pt x="290" y="151"/>
                    <a:pt x="288" y="126"/>
                  </a:cubicBezTo>
                  <a:cubicBezTo>
                    <a:pt x="286" y="125"/>
                    <a:pt x="284" y="124"/>
                    <a:pt x="280" y="124"/>
                  </a:cubicBezTo>
                  <a:cubicBezTo>
                    <a:pt x="264" y="124"/>
                    <a:pt x="262" y="145"/>
                    <a:pt x="259" y="164"/>
                  </a:cubicBezTo>
                  <a:cubicBezTo>
                    <a:pt x="254" y="185"/>
                    <a:pt x="242" y="211"/>
                    <a:pt x="224" y="211"/>
                  </a:cubicBezTo>
                  <a:cubicBezTo>
                    <a:pt x="214" y="211"/>
                    <a:pt x="207" y="201"/>
                    <a:pt x="206" y="182"/>
                  </a:cubicBezTo>
                  <a:cubicBezTo>
                    <a:pt x="204" y="144"/>
                    <a:pt x="236" y="99"/>
                    <a:pt x="286" y="113"/>
                  </a:cubicBezTo>
                  <a:cubicBezTo>
                    <a:pt x="292" y="98"/>
                    <a:pt x="282" y="86"/>
                    <a:pt x="261" y="86"/>
                  </a:cubicBezTo>
                  <a:cubicBezTo>
                    <a:pt x="225" y="86"/>
                    <a:pt x="195" y="113"/>
                    <a:pt x="182" y="145"/>
                  </a:cubicBezTo>
                  <a:cubicBezTo>
                    <a:pt x="169" y="175"/>
                    <a:pt x="145" y="218"/>
                    <a:pt x="98" y="218"/>
                  </a:cubicBezTo>
                  <a:cubicBezTo>
                    <a:pt x="65" y="218"/>
                    <a:pt x="39" y="189"/>
                    <a:pt x="39" y="128"/>
                  </a:cubicBezTo>
                  <a:cubicBezTo>
                    <a:pt x="39" y="75"/>
                    <a:pt x="72" y="25"/>
                    <a:pt x="108" y="25"/>
                  </a:cubicBezTo>
                  <a:cubicBezTo>
                    <a:pt x="132" y="25"/>
                    <a:pt x="138" y="50"/>
                    <a:pt x="136" y="72"/>
                  </a:cubicBezTo>
                  <a:cubicBezTo>
                    <a:pt x="149" y="83"/>
                    <a:pt x="170" y="73"/>
                    <a:pt x="170" y="47"/>
                  </a:cubicBezTo>
                  <a:cubicBezTo>
                    <a:pt x="170" y="30"/>
                    <a:pt x="156" y="0"/>
                    <a:pt x="109" y="0"/>
                  </a:cubicBezTo>
                  <a:cubicBezTo>
                    <a:pt x="51" y="0"/>
                    <a:pt x="0" y="57"/>
                    <a:pt x="0" y="132"/>
                  </a:cubicBezTo>
                  <a:cubicBezTo>
                    <a:pt x="0" y="206"/>
                    <a:pt x="38" y="249"/>
                    <a:pt x="90" y="249"/>
                  </a:cubicBezTo>
                  <a:cubicBezTo>
                    <a:pt x="123" y="249"/>
                    <a:pt x="154" y="230"/>
                    <a:pt x="176" y="195"/>
                  </a:cubicBezTo>
                  <a:cubicBezTo>
                    <a:pt x="181" y="226"/>
                    <a:pt x="202" y="238"/>
                    <a:pt x="218" y="238"/>
                  </a:cubicBezTo>
                  <a:cubicBezTo>
                    <a:pt x="243" y="238"/>
                    <a:pt x="260" y="222"/>
                    <a:pt x="269" y="200"/>
                  </a:cubicBezTo>
                  <a:cubicBezTo>
                    <a:pt x="274" y="222"/>
                    <a:pt x="286" y="238"/>
                    <a:pt x="306" y="238"/>
                  </a:cubicBezTo>
                  <a:cubicBezTo>
                    <a:pt x="320" y="238"/>
                    <a:pt x="330" y="231"/>
                    <a:pt x="339" y="220"/>
                  </a:cubicBezTo>
                  <a:cubicBezTo>
                    <a:pt x="335" y="297"/>
                    <a:pt x="331" y="346"/>
                    <a:pt x="377" y="337"/>
                  </a:cubicBezTo>
                  <a:cubicBezTo>
                    <a:pt x="370" y="315"/>
                    <a:pt x="368" y="275"/>
                    <a:pt x="368" y="239"/>
                  </a:cubicBezTo>
                  <a:cubicBezTo>
                    <a:pt x="368" y="141"/>
                    <a:pt x="384" y="109"/>
                    <a:pt x="404" y="109"/>
                  </a:cubicBezTo>
                  <a:cubicBezTo>
                    <a:pt x="419" y="109"/>
                    <a:pt x="423" y="128"/>
                    <a:pt x="423" y="148"/>
                  </a:cubicBezTo>
                  <a:cubicBezTo>
                    <a:pt x="423" y="158"/>
                    <a:pt x="422" y="170"/>
                    <a:pt x="420" y="182"/>
                  </a:cubicBezTo>
                  <a:cubicBezTo>
                    <a:pt x="395" y="197"/>
                    <a:pt x="375" y="210"/>
                    <a:pt x="375" y="225"/>
                  </a:cubicBezTo>
                  <a:cubicBezTo>
                    <a:pt x="375" y="238"/>
                    <a:pt x="384" y="239"/>
                    <a:pt x="392" y="239"/>
                  </a:cubicBezTo>
                  <a:cubicBezTo>
                    <a:pt x="411" y="239"/>
                    <a:pt x="434" y="220"/>
                    <a:pt x="447" y="185"/>
                  </a:cubicBezTo>
                  <a:cubicBezTo>
                    <a:pt x="458" y="178"/>
                    <a:pt x="469" y="170"/>
                    <a:pt x="480" y="160"/>
                  </a:cubicBezTo>
                  <a:cubicBezTo>
                    <a:pt x="480" y="164"/>
                    <a:pt x="479" y="167"/>
                    <a:pt x="479" y="171"/>
                  </a:cubicBezTo>
                  <a:cubicBezTo>
                    <a:pt x="479" y="206"/>
                    <a:pt x="495" y="227"/>
                    <a:pt x="519" y="227"/>
                  </a:cubicBezTo>
                  <a:cubicBezTo>
                    <a:pt x="538" y="227"/>
                    <a:pt x="553" y="214"/>
                    <a:pt x="563" y="193"/>
                  </a:cubicBezTo>
                  <a:cubicBezTo>
                    <a:pt x="564" y="205"/>
                    <a:pt x="564" y="216"/>
                    <a:pt x="564" y="226"/>
                  </a:cubicBezTo>
                  <a:cubicBezTo>
                    <a:pt x="525" y="244"/>
                    <a:pt x="482" y="262"/>
                    <a:pt x="482" y="313"/>
                  </a:cubicBezTo>
                  <a:cubicBezTo>
                    <a:pt x="482" y="339"/>
                    <a:pt x="501" y="359"/>
                    <a:pt x="526" y="359"/>
                  </a:cubicBezTo>
                  <a:cubicBezTo>
                    <a:pt x="580" y="359"/>
                    <a:pt x="593" y="302"/>
                    <a:pt x="593" y="235"/>
                  </a:cubicBezTo>
                  <a:cubicBezTo>
                    <a:pt x="611" y="227"/>
                    <a:pt x="624" y="222"/>
                    <a:pt x="639" y="214"/>
                  </a:cubicBezTo>
                  <a:cubicBezTo>
                    <a:pt x="652" y="230"/>
                    <a:pt x="670" y="238"/>
                    <a:pt x="686" y="238"/>
                  </a:cubicBezTo>
                  <a:cubicBezTo>
                    <a:pt x="717" y="238"/>
                    <a:pt x="740" y="222"/>
                    <a:pt x="758" y="189"/>
                  </a:cubicBezTo>
                  <a:cubicBezTo>
                    <a:pt x="762" y="214"/>
                    <a:pt x="768" y="238"/>
                    <a:pt x="781" y="238"/>
                  </a:cubicBezTo>
                  <a:cubicBezTo>
                    <a:pt x="806" y="238"/>
                    <a:pt x="811" y="111"/>
                    <a:pt x="829" y="111"/>
                  </a:cubicBezTo>
                  <a:cubicBezTo>
                    <a:pt x="843" y="111"/>
                    <a:pt x="831" y="249"/>
                    <a:pt x="868" y="249"/>
                  </a:cubicBezTo>
                  <a:cubicBezTo>
                    <a:pt x="899" y="249"/>
                    <a:pt x="905" y="128"/>
                    <a:pt x="920" y="128"/>
                  </a:cubicBezTo>
                  <a:cubicBezTo>
                    <a:pt x="931" y="128"/>
                    <a:pt x="932" y="238"/>
                    <a:pt x="966" y="238"/>
                  </a:cubicBezTo>
                  <a:cubicBezTo>
                    <a:pt x="983" y="238"/>
                    <a:pt x="1001" y="218"/>
                    <a:pt x="1010" y="176"/>
                  </a:cubicBezTo>
                  <a:cubicBezTo>
                    <a:pt x="1014" y="204"/>
                    <a:pt x="1028" y="238"/>
                    <a:pt x="1056" y="238"/>
                  </a:cubicBezTo>
                  <a:cubicBezTo>
                    <a:pt x="1072" y="238"/>
                    <a:pt x="1086" y="222"/>
                    <a:pt x="1097" y="200"/>
                  </a:cubicBezTo>
                  <a:cubicBezTo>
                    <a:pt x="1100" y="223"/>
                    <a:pt x="1106" y="238"/>
                    <a:pt x="1118" y="238"/>
                  </a:cubicBezTo>
                  <a:cubicBezTo>
                    <a:pt x="1150" y="238"/>
                    <a:pt x="1149" y="112"/>
                    <a:pt x="1174" y="112"/>
                  </a:cubicBezTo>
                  <a:cubicBezTo>
                    <a:pt x="1194" y="112"/>
                    <a:pt x="1188" y="238"/>
                    <a:pt x="1235" y="238"/>
                  </a:cubicBezTo>
                  <a:cubicBezTo>
                    <a:pt x="1257" y="238"/>
                    <a:pt x="1268" y="220"/>
                    <a:pt x="1274" y="196"/>
                  </a:cubicBezTo>
                  <a:cubicBezTo>
                    <a:pt x="1283" y="231"/>
                    <a:pt x="1297" y="238"/>
                    <a:pt x="1308" y="238"/>
                  </a:cubicBezTo>
                  <a:cubicBezTo>
                    <a:pt x="1315" y="238"/>
                    <a:pt x="1321" y="236"/>
                    <a:pt x="1328" y="227"/>
                  </a:cubicBezTo>
                  <a:cubicBezTo>
                    <a:pt x="1292" y="212"/>
                    <a:pt x="1295" y="155"/>
                    <a:pt x="1295" y="118"/>
                  </a:cubicBezTo>
                  <a:moveTo>
                    <a:pt x="528" y="335"/>
                  </a:moveTo>
                  <a:cubicBezTo>
                    <a:pt x="517" y="335"/>
                    <a:pt x="511" y="325"/>
                    <a:pt x="511" y="313"/>
                  </a:cubicBezTo>
                  <a:cubicBezTo>
                    <a:pt x="511" y="280"/>
                    <a:pt x="535" y="263"/>
                    <a:pt x="564" y="248"/>
                  </a:cubicBezTo>
                  <a:cubicBezTo>
                    <a:pt x="563" y="319"/>
                    <a:pt x="546" y="335"/>
                    <a:pt x="528" y="335"/>
                  </a:cubicBezTo>
                  <a:moveTo>
                    <a:pt x="674" y="105"/>
                  </a:moveTo>
                  <a:cubicBezTo>
                    <a:pt x="685" y="105"/>
                    <a:pt x="692" y="115"/>
                    <a:pt x="691" y="129"/>
                  </a:cubicBezTo>
                  <a:cubicBezTo>
                    <a:pt x="689" y="146"/>
                    <a:pt x="677" y="166"/>
                    <a:pt x="655" y="181"/>
                  </a:cubicBezTo>
                  <a:cubicBezTo>
                    <a:pt x="644" y="149"/>
                    <a:pt x="653" y="105"/>
                    <a:pt x="674" y="105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8" name="Freeform 13"/>
            <p:cNvSpPr>
              <a:spLocks/>
            </p:cNvSpPr>
            <p:nvPr userDrawn="1"/>
          </p:nvSpPr>
          <p:spPr bwMode="auto">
            <a:xfrm>
              <a:off x="4013200" y="4541838"/>
              <a:ext cx="120650" cy="127000"/>
            </a:xfrm>
            <a:custGeom>
              <a:avLst/>
              <a:gdLst/>
              <a:ahLst/>
              <a:cxnLst>
                <a:cxn ang="0">
                  <a:pos x="19" y="39"/>
                </a:cxn>
                <a:cxn ang="0">
                  <a:pos x="37" y="19"/>
                </a:cxn>
                <a:cxn ang="0">
                  <a:pos x="19" y="0"/>
                </a:cxn>
                <a:cxn ang="0">
                  <a:pos x="0" y="20"/>
                </a:cxn>
                <a:cxn ang="0">
                  <a:pos x="19" y="39"/>
                </a:cxn>
              </a:cxnLst>
              <a:rect l="0" t="0" r="r" b="b"/>
              <a:pathLst>
                <a:path w="37" h="39">
                  <a:moveTo>
                    <a:pt x="19" y="39"/>
                  </a:moveTo>
                  <a:cubicBezTo>
                    <a:pt x="30" y="38"/>
                    <a:pt x="37" y="29"/>
                    <a:pt x="37" y="19"/>
                  </a:cubicBezTo>
                  <a:cubicBezTo>
                    <a:pt x="37" y="8"/>
                    <a:pt x="30" y="0"/>
                    <a:pt x="19" y="0"/>
                  </a:cubicBezTo>
                  <a:cubicBezTo>
                    <a:pt x="9" y="1"/>
                    <a:pt x="0" y="9"/>
                    <a:pt x="0" y="20"/>
                  </a:cubicBezTo>
                  <a:cubicBezTo>
                    <a:pt x="0" y="31"/>
                    <a:pt x="9" y="39"/>
                    <a:pt x="19" y="39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9" name="Freeform 14"/>
            <p:cNvSpPr>
              <a:spLocks/>
            </p:cNvSpPr>
            <p:nvPr userDrawn="1"/>
          </p:nvSpPr>
          <p:spPr bwMode="auto">
            <a:xfrm>
              <a:off x="4870450" y="4564063"/>
              <a:ext cx="112713" cy="125413"/>
            </a:xfrm>
            <a:custGeom>
              <a:avLst/>
              <a:gdLst/>
              <a:ahLst/>
              <a:cxnLst>
                <a:cxn ang="0">
                  <a:pos x="17" y="37"/>
                </a:cxn>
                <a:cxn ang="0">
                  <a:pos x="34" y="18"/>
                </a:cxn>
                <a:cxn ang="0">
                  <a:pos x="17" y="0"/>
                </a:cxn>
                <a:cxn ang="0">
                  <a:pos x="0" y="19"/>
                </a:cxn>
                <a:cxn ang="0">
                  <a:pos x="17" y="37"/>
                </a:cxn>
              </a:cxnLst>
              <a:rect l="0" t="0" r="r" b="b"/>
              <a:pathLst>
                <a:path w="34" h="38">
                  <a:moveTo>
                    <a:pt x="17" y="37"/>
                  </a:moveTo>
                  <a:cubicBezTo>
                    <a:pt x="26" y="37"/>
                    <a:pt x="34" y="28"/>
                    <a:pt x="34" y="18"/>
                  </a:cubicBezTo>
                  <a:cubicBezTo>
                    <a:pt x="34" y="8"/>
                    <a:pt x="26" y="0"/>
                    <a:pt x="17" y="0"/>
                  </a:cubicBezTo>
                  <a:cubicBezTo>
                    <a:pt x="7" y="1"/>
                    <a:pt x="0" y="9"/>
                    <a:pt x="0" y="19"/>
                  </a:cubicBezTo>
                  <a:cubicBezTo>
                    <a:pt x="0" y="30"/>
                    <a:pt x="7" y="38"/>
                    <a:pt x="17" y="37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0" name="Freeform 15"/>
            <p:cNvSpPr>
              <a:spLocks/>
            </p:cNvSpPr>
            <p:nvPr userDrawn="1"/>
          </p:nvSpPr>
          <p:spPr bwMode="auto">
            <a:xfrm>
              <a:off x="5143500" y="4465638"/>
              <a:ext cx="939800" cy="796925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0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8" y="210"/>
                </a:cxn>
                <a:cxn ang="0">
                  <a:pos x="240" y="111"/>
                </a:cxn>
                <a:cxn ang="0">
                  <a:pos x="287" y="154"/>
                </a:cxn>
                <a:cxn ang="0">
                  <a:pos x="286" y="152"/>
                </a:cxn>
              </a:cxnLst>
              <a:rect l="0" t="0" r="r" b="b"/>
              <a:pathLst>
                <a:path w="287" h="243">
                  <a:moveTo>
                    <a:pt x="286" y="152"/>
                  </a:moveTo>
                  <a:cubicBezTo>
                    <a:pt x="286" y="111"/>
                    <a:pt x="267" y="77"/>
                    <a:pt x="237" y="50"/>
                  </a:cubicBezTo>
                  <a:cubicBezTo>
                    <a:pt x="215" y="30"/>
                    <a:pt x="188" y="14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3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7" y="222"/>
                    <a:pt x="148" y="210"/>
                  </a:cubicBezTo>
                  <a:cubicBezTo>
                    <a:pt x="182" y="171"/>
                    <a:pt x="197" y="111"/>
                    <a:pt x="240" y="111"/>
                  </a:cubicBezTo>
                  <a:cubicBezTo>
                    <a:pt x="279" y="111"/>
                    <a:pt x="284" y="139"/>
                    <a:pt x="287" y="154"/>
                  </a:cubicBezTo>
                  <a:cubicBezTo>
                    <a:pt x="287" y="154"/>
                    <a:pt x="287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</p:grpSp>
      <p:sp>
        <p:nvSpPr>
          <p:cNvPr id="2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665976" y="1690688"/>
            <a:ext cx="6234859" cy="112604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5655320" y="622300"/>
            <a:ext cx="6260455" cy="1068388"/>
          </a:xfrm>
          <a:prstGeom prst="rect">
            <a:avLst/>
          </a:prstGeom>
        </p:spPr>
        <p:txBody>
          <a:bodyPr lIns="0" anchor="b"/>
          <a:lstStyle>
            <a:lvl1pPr>
              <a:defRPr sz="2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insert title</a:t>
            </a:r>
          </a:p>
        </p:txBody>
      </p:sp>
    </p:spTree>
    <p:extLst>
      <p:ext uri="{BB962C8B-B14F-4D97-AF65-F5344CB8AC3E}">
        <p14:creationId xmlns:p14="http://schemas.microsoft.com/office/powerpoint/2010/main" val="109950411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3339">
          <p15:clr>
            <a:srgbClr val="FBAE40"/>
          </p15:clr>
        </p15:guide>
        <p15:guide id="2" pos="257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3">
    <p:bg>
      <p:bgPr>
        <a:solidFill>
          <a:srgbClr val="E6E7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46" name="Freeform 6"/>
          <p:cNvSpPr>
            <a:spLocks/>
          </p:cNvSpPr>
          <p:nvPr userDrawn="1"/>
        </p:nvSpPr>
        <p:spPr bwMode="auto">
          <a:xfrm>
            <a:off x="3771900" y="1847851"/>
            <a:ext cx="8420100" cy="5010150"/>
          </a:xfrm>
          <a:custGeom>
            <a:avLst/>
            <a:gdLst/>
            <a:ahLst/>
            <a:cxnLst>
              <a:cxn ang="0">
                <a:pos x="5302" y="3130"/>
              </a:cxn>
              <a:cxn ang="0">
                <a:pos x="5302" y="994"/>
              </a:cxn>
              <a:cxn ang="0">
                <a:pos x="5302" y="982"/>
              </a:cxn>
              <a:cxn ang="0">
                <a:pos x="5302" y="966"/>
              </a:cxn>
              <a:cxn ang="0">
                <a:pos x="5298" y="962"/>
              </a:cxn>
              <a:cxn ang="0">
                <a:pos x="5284" y="968"/>
              </a:cxn>
              <a:cxn ang="0">
                <a:pos x="5234" y="992"/>
              </a:cxn>
              <a:cxn ang="0">
                <a:pos x="5132" y="1030"/>
              </a:cxn>
              <a:cxn ang="0">
                <a:pos x="5080" y="1044"/>
              </a:cxn>
              <a:cxn ang="0">
                <a:pos x="4944" y="1076"/>
              </a:cxn>
              <a:cxn ang="0">
                <a:pos x="4806" y="1094"/>
              </a:cxn>
              <a:cxn ang="0">
                <a:pos x="4668" y="1104"/>
              </a:cxn>
              <a:cxn ang="0">
                <a:pos x="4528" y="1102"/>
              </a:cxn>
              <a:cxn ang="0">
                <a:pos x="4436" y="1098"/>
              </a:cxn>
              <a:cxn ang="0">
                <a:pos x="4254" y="1080"/>
              </a:cxn>
              <a:cxn ang="0">
                <a:pos x="4074" y="1054"/>
              </a:cxn>
              <a:cxn ang="0">
                <a:pos x="3894" y="1018"/>
              </a:cxn>
              <a:cxn ang="0">
                <a:pos x="3806" y="996"/>
              </a:cxn>
              <a:cxn ang="0">
                <a:pos x="3518" y="918"/>
              </a:cxn>
              <a:cxn ang="0">
                <a:pos x="3236" y="828"/>
              </a:cxn>
              <a:cxn ang="0">
                <a:pos x="2956" y="724"/>
              </a:cxn>
              <a:cxn ang="0">
                <a:pos x="2680" y="612"/>
              </a:cxn>
              <a:cxn ang="0">
                <a:pos x="2522" y="544"/>
              </a:cxn>
              <a:cxn ang="0">
                <a:pos x="2210" y="402"/>
              </a:cxn>
              <a:cxn ang="0">
                <a:pos x="1902" y="250"/>
              </a:cxn>
              <a:cxn ang="0">
                <a:pos x="1596" y="92"/>
              </a:cxn>
              <a:cxn ang="0">
                <a:pos x="1446" y="10"/>
              </a:cxn>
              <a:cxn ang="0">
                <a:pos x="1434" y="4"/>
              </a:cxn>
              <a:cxn ang="0">
                <a:pos x="1432" y="0"/>
              </a:cxn>
              <a:cxn ang="0">
                <a:pos x="1424" y="0"/>
              </a:cxn>
              <a:cxn ang="0">
                <a:pos x="1286" y="88"/>
              </a:cxn>
              <a:cxn ang="0">
                <a:pos x="1132" y="194"/>
              </a:cxn>
              <a:cxn ang="0">
                <a:pos x="982" y="304"/>
              </a:cxn>
              <a:cxn ang="0">
                <a:pos x="838" y="422"/>
              </a:cxn>
              <a:cxn ang="0">
                <a:pos x="702" y="548"/>
              </a:cxn>
              <a:cxn ang="0">
                <a:pos x="660" y="592"/>
              </a:cxn>
              <a:cxn ang="0">
                <a:pos x="578" y="678"/>
              </a:cxn>
              <a:cxn ang="0">
                <a:pos x="500" y="768"/>
              </a:cxn>
              <a:cxn ang="0">
                <a:pos x="428" y="862"/>
              </a:cxn>
              <a:cxn ang="0">
                <a:pos x="360" y="958"/>
              </a:cxn>
              <a:cxn ang="0">
                <a:pos x="296" y="1058"/>
              </a:cxn>
              <a:cxn ang="0">
                <a:pos x="240" y="1162"/>
              </a:cxn>
              <a:cxn ang="0">
                <a:pos x="188" y="1270"/>
              </a:cxn>
              <a:cxn ang="0">
                <a:pos x="164" y="1326"/>
              </a:cxn>
              <a:cxn ang="0">
                <a:pos x="114" y="1460"/>
              </a:cxn>
              <a:cxn ang="0">
                <a:pos x="72" y="1596"/>
              </a:cxn>
              <a:cxn ang="0">
                <a:pos x="42" y="1736"/>
              </a:cxn>
              <a:cxn ang="0">
                <a:pos x="18" y="1876"/>
              </a:cxn>
              <a:cxn ang="0">
                <a:pos x="10" y="1958"/>
              </a:cxn>
              <a:cxn ang="0">
                <a:pos x="4" y="2038"/>
              </a:cxn>
              <a:cxn ang="0">
                <a:pos x="2" y="2052"/>
              </a:cxn>
              <a:cxn ang="0">
                <a:pos x="0" y="2054"/>
              </a:cxn>
              <a:cxn ang="0">
                <a:pos x="0" y="2312"/>
              </a:cxn>
              <a:cxn ang="0">
                <a:pos x="6" y="2330"/>
              </a:cxn>
              <a:cxn ang="0">
                <a:pos x="6" y="2350"/>
              </a:cxn>
              <a:cxn ang="0">
                <a:pos x="26" y="2552"/>
              </a:cxn>
              <a:cxn ang="0">
                <a:pos x="56" y="2752"/>
              </a:cxn>
              <a:cxn ang="0">
                <a:pos x="100" y="2950"/>
              </a:cxn>
              <a:cxn ang="0">
                <a:pos x="150" y="3148"/>
              </a:cxn>
              <a:cxn ang="0">
                <a:pos x="154" y="3156"/>
              </a:cxn>
              <a:cxn ang="0">
                <a:pos x="5304" y="3156"/>
              </a:cxn>
              <a:cxn ang="0">
                <a:pos x="5302" y="3130"/>
              </a:cxn>
            </a:cxnLst>
            <a:rect l="0" t="0" r="r" b="b"/>
            <a:pathLst>
              <a:path w="5304" h="3156">
                <a:moveTo>
                  <a:pt x="5302" y="3130"/>
                </a:moveTo>
                <a:lnTo>
                  <a:pt x="5302" y="3130"/>
                </a:lnTo>
                <a:lnTo>
                  <a:pt x="5302" y="994"/>
                </a:lnTo>
                <a:lnTo>
                  <a:pt x="5302" y="994"/>
                </a:lnTo>
                <a:lnTo>
                  <a:pt x="5302" y="982"/>
                </a:lnTo>
                <a:lnTo>
                  <a:pt x="5302" y="982"/>
                </a:lnTo>
                <a:lnTo>
                  <a:pt x="5302" y="968"/>
                </a:lnTo>
                <a:lnTo>
                  <a:pt x="5302" y="966"/>
                </a:lnTo>
                <a:lnTo>
                  <a:pt x="5300" y="964"/>
                </a:lnTo>
                <a:lnTo>
                  <a:pt x="5298" y="962"/>
                </a:lnTo>
                <a:lnTo>
                  <a:pt x="5294" y="964"/>
                </a:lnTo>
                <a:lnTo>
                  <a:pt x="5284" y="968"/>
                </a:lnTo>
                <a:lnTo>
                  <a:pt x="5284" y="968"/>
                </a:lnTo>
                <a:lnTo>
                  <a:pt x="5234" y="992"/>
                </a:lnTo>
                <a:lnTo>
                  <a:pt x="5184" y="1012"/>
                </a:lnTo>
                <a:lnTo>
                  <a:pt x="5132" y="1030"/>
                </a:lnTo>
                <a:lnTo>
                  <a:pt x="5080" y="1044"/>
                </a:lnTo>
                <a:lnTo>
                  <a:pt x="5080" y="1044"/>
                </a:lnTo>
                <a:lnTo>
                  <a:pt x="5012" y="1062"/>
                </a:lnTo>
                <a:lnTo>
                  <a:pt x="4944" y="1076"/>
                </a:lnTo>
                <a:lnTo>
                  <a:pt x="4876" y="1086"/>
                </a:lnTo>
                <a:lnTo>
                  <a:pt x="4806" y="1094"/>
                </a:lnTo>
                <a:lnTo>
                  <a:pt x="4736" y="1100"/>
                </a:lnTo>
                <a:lnTo>
                  <a:pt x="4668" y="1104"/>
                </a:lnTo>
                <a:lnTo>
                  <a:pt x="4598" y="1104"/>
                </a:lnTo>
                <a:lnTo>
                  <a:pt x="4528" y="1102"/>
                </a:lnTo>
                <a:lnTo>
                  <a:pt x="4528" y="1102"/>
                </a:lnTo>
                <a:lnTo>
                  <a:pt x="4436" y="1098"/>
                </a:lnTo>
                <a:lnTo>
                  <a:pt x="4344" y="1090"/>
                </a:lnTo>
                <a:lnTo>
                  <a:pt x="4254" y="1080"/>
                </a:lnTo>
                <a:lnTo>
                  <a:pt x="4164" y="1068"/>
                </a:lnTo>
                <a:lnTo>
                  <a:pt x="4074" y="1054"/>
                </a:lnTo>
                <a:lnTo>
                  <a:pt x="3984" y="1036"/>
                </a:lnTo>
                <a:lnTo>
                  <a:pt x="3894" y="1018"/>
                </a:lnTo>
                <a:lnTo>
                  <a:pt x="3806" y="996"/>
                </a:lnTo>
                <a:lnTo>
                  <a:pt x="3806" y="996"/>
                </a:lnTo>
                <a:lnTo>
                  <a:pt x="3660" y="960"/>
                </a:lnTo>
                <a:lnTo>
                  <a:pt x="3518" y="918"/>
                </a:lnTo>
                <a:lnTo>
                  <a:pt x="3376" y="874"/>
                </a:lnTo>
                <a:lnTo>
                  <a:pt x="3236" y="828"/>
                </a:lnTo>
                <a:lnTo>
                  <a:pt x="3096" y="778"/>
                </a:lnTo>
                <a:lnTo>
                  <a:pt x="2956" y="724"/>
                </a:lnTo>
                <a:lnTo>
                  <a:pt x="2818" y="670"/>
                </a:lnTo>
                <a:lnTo>
                  <a:pt x="2680" y="612"/>
                </a:lnTo>
                <a:lnTo>
                  <a:pt x="2680" y="612"/>
                </a:lnTo>
                <a:lnTo>
                  <a:pt x="2522" y="544"/>
                </a:lnTo>
                <a:lnTo>
                  <a:pt x="2366" y="474"/>
                </a:lnTo>
                <a:lnTo>
                  <a:pt x="2210" y="402"/>
                </a:lnTo>
                <a:lnTo>
                  <a:pt x="2056" y="326"/>
                </a:lnTo>
                <a:lnTo>
                  <a:pt x="1902" y="250"/>
                </a:lnTo>
                <a:lnTo>
                  <a:pt x="1748" y="172"/>
                </a:lnTo>
                <a:lnTo>
                  <a:pt x="1596" y="92"/>
                </a:lnTo>
                <a:lnTo>
                  <a:pt x="1446" y="10"/>
                </a:lnTo>
                <a:lnTo>
                  <a:pt x="1446" y="10"/>
                </a:lnTo>
                <a:lnTo>
                  <a:pt x="1438" y="6"/>
                </a:lnTo>
                <a:lnTo>
                  <a:pt x="1434" y="4"/>
                </a:lnTo>
                <a:lnTo>
                  <a:pt x="1432" y="0"/>
                </a:lnTo>
                <a:lnTo>
                  <a:pt x="1432" y="0"/>
                </a:lnTo>
                <a:lnTo>
                  <a:pt x="1424" y="0"/>
                </a:lnTo>
                <a:lnTo>
                  <a:pt x="1424" y="0"/>
                </a:lnTo>
                <a:lnTo>
                  <a:pt x="1286" y="88"/>
                </a:lnTo>
                <a:lnTo>
                  <a:pt x="1286" y="88"/>
                </a:lnTo>
                <a:lnTo>
                  <a:pt x="1208" y="140"/>
                </a:lnTo>
                <a:lnTo>
                  <a:pt x="1132" y="194"/>
                </a:lnTo>
                <a:lnTo>
                  <a:pt x="1056" y="248"/>
                </a:lnTo>
                <a:lnTo>
                  <a:pt x="982" y="304"/>
                </a:lnTo>
                <a:lnTo>
                  <a:pt x="910" y="362"/>
                </a:lnTo>
                <a:lnTo>
                  <a:pt x="838" y="422"/>
                </a:lnTo>
                <a:lnTo>
                  <a:pt x="770" y="484"/>
                </a:lnTo>
                <a:lnTo>
                  <a:pt x="702" y="548"/>
                </a:lnTo>
                <a:lnTo>
                  <a:pt x="702" y="548"/>
                </a:lnTo>
                <a:lnTo>
                  <a:pt x="660" y="592"/>
                </a:lnTo>
                <a:lnTo>
                  <a:pt x="618" y="634"/>
                </a:lnTo>
                <a:lnTo>
                  <a:pt x="578" y="678"/>
                </a:lnTo>
                <a:lnTo>
                  <a:pt x="538" y="724"/>
                </a:lnTo>
                <a:lnTo>
                  <a:pt x="500" y="768"/>
                </a:lnTo>
                <a:lnTo>
                  <a:pt x="464" y="814"/>
                </a:lnTo>
                <a:lnTo>
                  <a:pt x="428" y="862"/>
                </a:lnTo>
                <a:lnTo>
                  <a:pt x="392" y="910"/>
                </a:lnTo>
                <a:lnTo>
                  <a:pt x="360" y="958"/>
                </a:lnTo>
                <a:lnTo>
                  <a:pt x="328" y="1008"/>
                </a:lnTo>
                <a:lnTo>
                  <a:pt x="296" y="1058"/>
                </a:lnTo>
                <a:lnTo>
                  <a:pt x="268" y="1110"/>
                </a:lnTo>
                <a:lnTo>
                  <a:pt x="240" y="1162"/>
                </a:lnTo>
                <a:lnTo>
                  <a:pt x="212" y="1216"/>
                </a:lnTo>
                <a:lnTo>
                  <a:pt x="188" y="1270"/>
                </a:lnTo>
                <a:lnTo>
                  <a:pt x="164" y="1326"/>
                </a:lnTo>
                <a:lnTo>
                  <a:pt x="164" y="1326"/>
                </a:lnTo>
                <a:lnTo>
                  <a:pt x="136" y="1392"/>
                </a:lnTo>
                <a:lnTo>
                  <a:pt x="114" y="1460"/>
                </a:lnTo>
                <a:lnTo>
                  <a:pt x="92" y="1528"/>
                </a:lnTo>
                <a:lnTo>
                  <a:pt x="72" y="1596"/>
                </a:lnTo>
                <a:lnTo>
                  <a:pt x="56" y="1666"/>
                </a:lnTo>
                <a:lnTo>
                  <a:pt x="42" y="1736"/>
                </a:lnTo>
                <a:lnTo>
                  <a:pt x="28" y="1806"/>
                </a:lnTo>
                <a:lnTo>
                  <a:pt x="18" y="1876"/>
                </a:lnTo>
                <a:lnTo>
                  <a:pt x="18" y="1876"/>
                </a:lnTo>
                <a:lnTo>
                  <a:pt x="10" y="1958"/>
                </a:lnTo>
                <a:lnTo>
                  <a:pt x="4" y="2038"/>
                </a:lnTo>
                <a:lnTo>
                  <a:pt x="4" y="2038"/>
                </a:lnTo>
                <a:lnTo>
                  <a:pt x="4" y="2048"/>
                </a:lnTo>
                <a:lnTo>
                  <a:pt x="2" y="2052"/>
                </a:lnTo>
                <a:lnTo>
                  <a:pt x="0" y="2054"/>
                </a:lnTo>
                <a:lnTo>
                  <a:pt x="0" y="2054"/>
                </a:lnTo>
                <a:lnTo>
                  <a:pt x="0" y="2312"/>
                </a:lnTo>
                <a:lnTo>
                  <a:pt x="0" y="2312"/>
                </a:lnTo>
                <a:lnTo>
                  <a:pt x="4" y="2320"/>
                </a:lnTo>
                <a:lnTo>
                  <a:pt x="6" y="2330"/>
                </a:lnTo>
                <a:lnTo>
                  <a:pt x="6" y="2350"/>
                </a:lnTo>
                <a:lnTo>
                  <a:pt x="6" y="2350"/>
                </a:lnTo>
                <a:lnTo>
                  <a:pt x="14" y="2452"/>
                </a:lnTo>
                <a:lnTo>
                  <a:pt x="26" y="2552"/>
                </a:lnTo>
                <a:lnTo>
                  <a:pt x="40" y="2652"/>
                </a:lnTo>
                <a:lnTo>
                  <a:pt x="56" y="2752"/>
                </a:lnTo>
                <a:lnTo>
                  <a:pt x="76" y="2852"/>
                </a:lnTo>
                <a:lnTo>
                  <a:pt x="100" y="2950"/>
                </a:lnTo>
                <a:lnTo>
                  <a:pt x="124" y="3050"/>
                </a:lnTo>
                <a:lnTo>
                  <a:pt x="150" y="3148"/>
                </a:lnTo>
                <a:lnTo>
                  <a:pt x="150" y="3148"/>
                </a:lnTo>
                <a:lnTo>
                  <a:pt x="154" y="3156"/>
                </a:lnTo>
                <a:lnTo>
                  <a:pt x="154" y="3156"/>
                </a:lnTo>
                <a:lnTo>
                  <a:pt x="5304" y="3156"/>
                </a:lnTo>
                <a:lnTo>
                  <a:pt x="5304" y="3156"/>
                </a:lnTo>
                <a:lnTo>
                  <a:pt x="5302" y="3130"/>
                </a:lnTo>
                <a:lnTo>
                  <a:pt x="5302" y="3130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5016499" y="3644152"/>
            <a:ext cx="6899275" cy="144989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 algn="l">
              <a:lnSpc>
                <a:spcPts val="3000"/>
              </a:lnSpc>
              <a:defRPr lang="en-US" sz="2600" b="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016499" y="5236923"/>
            <a:ext cx="6899275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grpSp>
        <p:nvGrpSpPr>
          <p:cNvPr id="22" name="Group 14"/>
          <p:cNvGrpSpPr>
            <a:grpSpLocks noChangeAspect="1"/>
          </p:cNvGrpSpPr>
          <p:nvPr userDrawn="1"/>
        </p:nvGrpSpPr>
        <p:grpSpPr>
          <a:xfrm>
            <a:off x="407988" y="695702"/>
            <a:ext cx="5040000" cy="1123653"/>
            <a:chOff x="728663" y="4465638"/>
            <a:chExt cx="5354637" cy="1193800"/>
          </a:xfrm>
        </p:grpSpPr>
        <p:sp>
          <p:nvSpPr>
            <p:cNvPr id="23" name="Freeform 11"/>
            <p:cNvSpPr>
              <a:spLocks/>
            </p:cNvSpPr>
            <p:nvPr userDrawn="1"/>
          </p:nvSpPr>
          <p:spPr bwMode="auto">
            <a:xfrm>
              <a:off x="5464175" y="4830763"/>
              <a:ext cx="619125" cy="503238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9" y="43"/>
                </a:cxn>
                <a:cxn ang="0">
                  <a:pos x="142" y="0"/>
                </a:cxn>
                <a:cxn ang="0">
                  <a:pos x="50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5"/>
                </a:cxn>
                <a:cxn ang="0">
                  <a:pos x="125" y="107"/>
                </a:cxn>
              </a:cxnLst>
              <a:rect l="0" t="0" r="r" b="b"/>
              <a:pathLst>
                <a:path w="189" h="154">
                  <a:moveTo>
                    <a:pt x="125" y="107"/>
                  </a:moveTo>
                  <a:cubicBezTo>
                    <a:pt x="161" y="107"/>
                    <a:pt x="188" y="78"/>
                    <a:pt x="189" y="43"/>
                  </a:cubicBezTo>
                  <a:cubicBezTo>
                    <a:pt x="186" y="28"/>
                    <a:pt x="181" y="0"/>
                    <a:pt x="142" y="0"/>
                  </a:cubicBezTo>
                  <a:cubicBezTo>
                    <a:pt x="99" y="0"/>
                    <a:pt x="84" y="60"/>
                    <a:pt x="50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5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4" name="Freeform 12"/>
            <p:cNvSpPr>
              <a:spLocks noEditPoints="1"/>
            </p:cNvSpPr>
            <p:nvPr userDrawn="1"/>
          </p:nvSpPr>
          <p:spPr bwMode="auto">
            <a:xfrm>
              <a:off x="728663" y="4483100"/>
              <a:ext cx="4352925" cy="1176338"/>
            </a:xfrm>
            <a:custGeom>
              <a:avLst/>
              <a:gdLst/>
              <a:ahLst/>
              <a:cxnLst>
                <a:cxn ang="0">
                  <a:pos x="1281" y="86"/>
                </a:cxn>
                <a:cxn ang="0">
                  <a:pos x="1240" y="210"/>
                </a:cxn>
                <a:cxn ang="0">
                  <a:pos x="1122" y="182"/>
                </a:cxn>
                <a:cxn ang="0">
                  <a:pos x="1121" y="104"/>
                </a:cxn>
                <a:cxn ang="0">
                  <a:pos x="1061" y="211"/>
                </a:cxn>
                <a:cxn ang="0">
                  <a:pos x="1007" y="84"/>
                </a:cxn>
                <a:cxn ang="0">
                  <a:pos x="924" y="86"/>
                </a:cxn>
                <a:cxn ang="0">
                  <a:pos x="830" y="72"/>
                </a:cxn>
                <a:cxn ang="0">
                  <a:pos x="781" y="160"/>
                </a:cxn>
                <a:cxn ang="0">
                  <a:pos x="756" y="81"/>
                </a:cxn>
                <a:cxn ang="0">
                  <a:pos x="666" y="200"/>
                </a:cxn>
                <a:cxn ang="0">
                  <a:pos x="677" y="82"/>
                </a:cxn>
                <a:cxn ang="0">
                  <a:pos x="628" y="196"/>
                </a:cxn>
                <a:cxn ang="0">
                  <a:pos x="585" y="113"/>
                </a:cxn>
                <a:cxn ang="0">
                  <a:pos x="527" y="198"/>
                </a:cxn>
                <a:cxn ang="0">
                  <a:pos x="586" y="102"/>
                </a:cxn>
                <a:cxn ang="0">
                  <a:pos x="493" y="118"/>
                </a:cxn>
                <a:cxn ang="0">
                  <a:pos x="454" y="147"/>
                </a:cxn>
                <a:cxn ang="0">
                  <a:pos x="368" y="111"/>
                </a:cxn>
                <a:cxn ang="0">
                  <a:pos x="335" y="90"/>
                </a:cxn>
                <a:cxn ang="0">
                  <a:pos x="309" y="215"/>
                </a:cxn>
                <a:cxn ang="0">
                  <a:pos x="280" y="124"/>
                </a:cxn>
                <a:cxn ang="0">
                  <a:pos x="224" y="211"/>
                </a:cxn>
                <a:cxn ang="0">
                  <a:pos x="286" y="113"/>
                </a:cxn>
                <a:cxn ang="0">
                  <a:pos x="182" y="145"/>
                </a:cxn>
                <a:cxn ang="0">
                  <a:pos x="39" y="128"/>
                </a:cxn>
                <a:cxn ang="0">
                  <a:pos x="136" y="72"/>
                </a:cxn>
                <a:cxn ang="0">
                  <a:pos x="109" y="0"/>
                </a:cxn>
                <a:cxn ang="0">
                  <a:pos x="90" y="249"/>
                </a:cxn>
                <a:cxn ang="0">
                  <a:pos x="218" y="238"/>
                </a:cxn>
                <a:cxn ang="0">
                  <a:pos x="306" y="238"/>
                </a:cxn>
                <a:cxn ang="0">
                  <a:pos x="377" y="337"/>
                </a:cxn>
                <a:cxn ang="0">
                  <a:pos x="404" y="109"/>
                </a:cxn>
                <a:cxn ang="0">
                  <a:pos x="420" y="182"/>
                </a:cxn>
                <a:cxn ang="0">
                  <a:pos x="392" y="239"/>
                </a:cxn>
                <a:cxn ang="0">
                  <a:pos x="480" y="160"/>
                </a:cxn>
                <a:cxn ang="0">
                  <a:pos x="519" y="227"/>
                </a:cxn>
                <a:cxn ang="0">
                  <a:pos x="564" y="226"/>
                </a:cxn>
                <a:cxn ang="0">
                  <a:pos x="526" y="359"/>
                </a:cxn>
                <a:cxn ang="0">
                  <a:pos x="639" y="214"/>
                </a:cxn>
                <a:cxn ang="0">
                  <a:pos x="758" y="189"/>
                </a:cxn>
                <a:cxn ang="0">
                  <a:pos x="829" y="111"/>
                </a:cxn>
                <a:cxn ang="0">
                  <a:pos x="920" y="128"/>
                </a:cxn>
                <a:cxn ang="0">
                  <a:pos x="1010" y="176"/>
                </a:cxn>
                <a:cxn ang="0">
                  <a:pos x="1097" y="200"/>
                </a:cxn>
                <a:cxn ang="0">
                  <a:pos x="1174" y="112"/>
                </a:cxn>
                <a:cxn ang="0">
                  <a:pos x="1274" y="196"/>
                </a:cxn>
                <a:cxn ang="0">
                  <a:pos x="1328" y="227"/>
                </a:cxn>
                <a:cxn ang="0">
                  <a:pos x="528" y="335"/>
                </a:cxn>
                <a:cxn ang="0">
                  <a:pos x="564" y="248"/>
                </a:cxn>
                <a:cxn ang="0">
                  <a:pos x="674" y="105"/>
                </a:cxn>
                <a:cxn ang="0">
                  <a:pos x="655" y="181"/>
                </a:cxn>
              </a:cxnLst>
              <a:rect l="0" t="0" r="r" b="b"/>
              <a:pathLst>
                <a:path w="1328" h="359">
                  <a:moveTo>
                    <a:pt x="1295" y="118"/>
                  </a:moveTo>
                  <a:cubicBezTo>
                    <a:pt x="1295" y="99"/>
                    <a:pt x="1294" y="86"/>
                    <a:pt x="1281" y="86"/>
                  </a:cubicBezTo>
                  <a:cubicBezTo>
                    <a:pt x="1275" y="86"/>
                    <a:pt x="1273" y="87"/>
                    <a:pt x="1268" y="89"/>
                  </a:cubicBezTo>
                  <a:cubicBezTo>
                    <a:pt x="1272" y="153"/>
                    <a:pt x="1258" y="210"/>
                    <a:pt x="1240" y="210"/>
                  </a:cubicBezTo>
                  <a:cubicBezTo>
                    <a:pt x="1217" y="210"/>
                    <a:pt x="1228" y="72"/>
                    <a:pt x="1179" y="72"/>
                  </a:cubicBezTo>
                  <a:cubicBezTo>
                    <a:pt x="1133" y="72"/>
                    <a:pt x="1127" y="182"/>
                    <a:pt x="1122" y="182"/>
                  </a:cubicBezTo>
                  <a:cubicBezTo>
                    <a:pt x="1118" y="182"/>
                    <a:pt x="1118" y="153"/>
                    <a:pt x="1118" y="131"/>
                  </a:cubicBezTo>
                  <a:cubicBezTo>
                    <a:pt x="1120" y="120"/>
                    <a:pt x="1121" y="111"/>
                    <a:pt x="1121" y="104"/>
                  </a:cubicBezTo>
                  <a:cubicBezTo>
                    <a:pt x="1121" y="93"/>
                    <a:pt x="1117" y="76"/>
                    <a:pt x="1093" y="84"/>
                  </a:cubicBezTo>
                  <a:cubicBezTo>
                    <a:pt x="1094" y="163"/>
                    <a:pt x="1078" y="211"/>
                    <a:pt x="1061" y="211"/>
                  </a:cubicBezTo>
                  <a:cubicBezTo>
                    <a:pt x="1035" y="211"/>
                    <a:pt x="1034" y="139"/>
                    <a:pt x="1034" y="120"/>
                  </a:cubicBezTo>
                  <a:cubicBezTo>
                    <a:pt x="1034" y="101"/>
                    <a:pt x="1036" y="75"/>
                    <a:pt x="1007" y="84"/>
                  </a:cubicBezTo>
                  <a:cubicBezTo>
                    <a:pt x="1003" y="153"/>
                    <a:pt x="985" y="204"/>
                    <a:pt x="974" y="204"/>
                  </a:cubicBezTo>
                  <a:cubicBezTo>
                    <a:pt x="957" y="204"/>
                    <a:pt x="960" y="86"/>
                    <a:pt x="924" y="86"/>
                  </a:cubicBezTo>
                  <a:cubicBezTo>
                    <a:pt x="891" y="86"/>
                    <a:pt x="881" y="198"/>
                    <a:pt x="874" y="198"/>
                  </a:cubicBezTo>
                  <a:cubicBezTo>
                    <a:pt x="861" y="198"/>
                    <a:pt x="877" y="72"/>
                    <a:pt x="830" y="72"/>
                  </a:cubicBezTo>
                  <a:cubicBezTo>
                    <a:pt x="805" y="72"/>
                    <a:pt x="795" y="114"/>
                    <a:pt x="785" y="161"/>
                  </a:cubicBezTo>
                  <a:cubicBezTo>
                    <a:pt x="784" y="170"/>
                    <a:pt x="782" y="171"/>
                    <a:pt x="781" y="160"/>
                  </a:cubicBezTo>
                  <a:cubicBezTo>
                    <a:pt x="781" y="152"/>
                    <a:pt x="781" y="142"/>
                    <a:pt x="781" y="134"/>
                  </a:cubicBezTo>
                  <a:cubicBezTo>
                    <a:pt x="793" y="86"/>
                    <a:pt x="778" y="69"/>
                    <a:pt x="756" y="81"/>
                  </a:cubicBezTo>
                  <a:cubicBezTo>
                    <a:pt x="763" y="169"/>
                    <a:pt x="723" y="212"/>
                    <a:pt x="692" y="212"/>
                  </a:cubicBezTo>
                  <a:cubicBezTo>
                    <a:pt x="681" y="212"/>
                    <a:pt x="672" y="207"/>
                    <a:pt x="666" y="200"/>
                  </a:cubicBezTo>
                  <a:cubicBezTo>
                    <a:pt x="703" y="177"/>
                    <a:pt x="719" y="151"/>
                    <a:pt x="719" y="126"/>
                  </a:cubicBezTo>
                  <a:cubicBezTo>
                    <a:pt x="719" y="98"/>
                    <a:pt x="704" y="82"/>
                    <a:pt x="677" y="82"/>
                  </a:cubicBezTo>
                  <a:cubicBezTo>
                    <a:pt x="640" y="82"/>
                    <a:pt x="620" y="120"/>
                    <a:pt x="620" y="152"/>
                  </a:cubicBezTo>
                  <a:cubicBezTo>
                    <a:pt x="620" y="169"/>
                    <a:pt x="623" y="184"/>
                    <a:pt x="628" y="196"/>
                  </a:cubicBezTo>
                  <a:cubicBezTo>
                    <a:pt x="616" y="202"/>
                    <a:pt x="604" y="207"/>
                    <a:pt x="593" y="212"/>
                  </a:cubicBezTo>
                  <a:cubicBezTo>
                    <a:pt x="592" y="179"/>
                    <a:pt x="588" y="145"/>
                    <a:pt x="585" y="113"/>
                  </a:cubicBezTo>
                  <a:cubicBezTo>
                    <a:pt x="566" y="107"/>
                    <a:pt x="560" y="117"/>
                    <a:pt x="559" y="134"/>
                  </a:cubicBezTo>
                  <a:cubicBezTo>
                    <a:pt x="555" y="174"/>
                    <a:pt x="540" y="198"/>
                    <a:pt x="527" y="198"/>
                  </a:cubicBezTo>
                  <a:cubicBezTo>
                    <a:pt x="518" y="198"/>
                    <a:pt x="512" y="186"/>
                    <a:pt x="511" y="174"/>
                  </a:cubicBezTo>
                  <a:cubicBezTo>
                    <a:pt x="507" y="110"/>
                    <a:pt x="559" y="92"/>
                    <a:pt x="586" y="102"/>
                  </a:cubicBezTo>
                  <a:cubicBezTo>
                    <a:pt x="592" y="88"/>
                    <a:pt x="585" y="77"/>
                    <a:pt x="561" y="77"/>
                  </a:cubicBezTo>
                  <a:cubicBezTo>
                    <a:pt x="531" y="77"/>
                    <a:pt x="509" y="95"/>
                    <a:pt x="493" y="118"/>
                  </a:cubicBezTo>
                  <a:cubicBezTo>
                    <a:pt x="482" y="134"/>
                    <a:pt x="470" y="145"/>
                    <a:pt x="453" y="158"/>
                  </a:cubicBezTo>
                  <a:cubicBezTo>
                    <a:pt x="454" y="154"/>
                    <a:pt x="454" y="150"/>
                    <a:pt x="454" y="147"/>
                  </a:cubicBezTo>
                  <a:cubicBezTo>
                    <a:pt x="454" y="102"/>
                    <a:pt x="430" y="82"/>
                    <a:pt x="406" y="82"/>
                  </a:cubicBezTo>
                  <a:cubicBezTo>
                    <a:pt x="387" y="82"/>
                    <a:pt x="375" y="94"/>
                    <a:pt x="368" y="111"/>
                  </a:cubicBezTo>
                  <a:cubicBezTo>
                    <a:pt x="366" y="94"/>
                    <a:pt x="363" y="86"/>
                    <a:pt x="353" y="86"/>
                  </a:cubicBezTo>
                  <a:cubicBezTo>
                    <a:pt x="348" y="86"/>
                    <a:pt x="342" y="87"/>
                    <a:pt x="335" y="90"/>
                  </a:cubicBezTo>
                  <a:cubicBezTo>
                    <a:pt x="338" y="100"/>
                    <a:pt x="340" y="122"/>
                    <a:pt x="340" y="137"/>
                  </a:cubicBezTo>
                  <a:cubicBezTo>
                    <a:pt x="340" y="191"/>
                    <a:pt x="324" y="215"/>
                    <a:pt x="309" y="215"/>
                  </a:cubicBezTo>
                  <a:cubicBezTo>
                    <a:pt x="292" y="215"/>
                    <a:pt x="290" y="151"/>
                    <a:pt x="288" y="126"/>
                  </a:cubicBezTo>
                  <a:cubicBezTo>
                    <a:pt x="286" y="125"/>
                    <a:pt x="284" y="124"/>
                    <a:pt x="280" y="124"/>
                  </a:cubicBezTo>
                  <a:cubicBezTo>
                    <a:pt x="264" y="124"/>
                    <a:pt x="262" y="145"/>
                    <a:pt x="259" y="164"/>
                  </a:cubicBezTo>
                  <a:cubicBezTo>
                    <a:pt x="254" y="185"/>
                    <a:pt x="242" y="211"/>
                    <a:pt x="224" y="211"/>
                  </a:cubicBezTo>
                  <a:cubicBezTo>
                    <a:pt x="214" y="211"/>
                    <a:pt x="207" y="201"/>
                    <a:pt x="206" y="182"/>
                  </a:cubicBezTo>
                  <a:cubicBezTo>
                    <a:pt x="204" y="144"/>
                    <a:pt x="236" y="99"/>
                    <a:pt x="286" y="113"/>
                  </a:cubicBezTo>
                  <a:cubicBezTo>
                    <a:pt x="292" y="98"/>
                    <a:pt x="282" y="86"/>
                    <a:pt x="261" y="86"/>
                  </a:cubicBezTo>
                  <a:cubicBezTo>
                    <a:pt x="225" y="86"/>
                    <a:pt x="195" y="113"/>
                    <a:pt x="182" y="145"/>
                  </a:cubicBezTo>
                  <a:cubicBezTo>
                    <a:pt x="169" y="175"/>
                    <a:pt x="145" y="218"/>
                    <a:pt x="98" y="218"/>
                  </a:cubicBezTo>
                  <a:cubicBezTo>
                    <a:pt x="65" y="218"/>
                    <a:pt x="39" y="189"/>
                    <a:pt x="39" y="128"/>
                  </a:cubicBezTo>
                  <a:cubicBezTo>
                    <a:pt x="39" y="75"/>
                    <a:pt x="72" y="25"/>
                    <a:pt x="108" y="25"/>
                  </a:cubicBezTo>
                  <a:cubicBezTo>
                    <a:pt x="132" y="25"/>
                    <a:pt x="138" y="50"/>
                    <a:pt x="136" y="72"/>
                  </a:cubicBezTo>
                  <a:cubicBezTo>
                    <a:pt x="149" y="83"/>
                    <a:pt x="170" y="73"/>
                    <a:pt x="170" y="47"/>
                  </a:cubicBezTo>
                  <a:cubicBezTo>
                    <a:pt x="170" y="30"/>
                    <a:pt x="156" y="0"/>
                    <a:pt x="109" y="0"/>
                  </a:cubicBezTo>
                  <a:cubicBezTo>
                    <a:pt x="51" y="0"/>
                    <a:pt x="0" y="57"/>
                    <a:pt x="0" y="132"/>
                  </a:cubicBezTo>
                  <a:cubicBezTo>
                    <a:pt x="0" y="206"/>
                    <a:pt x="38" y="249"/>
                    <a:pt x="90" y="249"/>
                  </a:cubicBezTo>
                  <a:cubicBezTo>
                    <a:pt x="123" y="249"/>
                    <a:pt x="154" y="230"/>
                    <a:pt x="176" y="195"/>
                  </a:cubicBezTo>
                  <a:cubicBezTo>
                    <a:pt x="181" y="226"/>
                    <a:pt x="202" y="238"/>
                    <a:pt x="218" y="238"/>
                  </a:cubicBezTo>
                  <a:cubicBezTo>
                    <a:pt x="243" y="238"/>
                    <a:pt x="260" y="222"/>
                    <a:pt x="269" y="200"/>
                  </a:cubicBezTo>
                  <a:cubicBezTo>
                    <a:pt x="274" y="222"/>
                    <a:pt x="286" y="238"/>
                    <a:pt x="306" y="238"/>
                  </a:cubicBezTo>
                  <a:cubicBezTo>
                    <a:pt x="320" y="238"/>
                    <a:pt x="330" y="231"/>
                    <a:pt x="339" y="220"/>
                  </a:cubicBezTo>
                  <a:cubicBezTo>
                    <a:pt x="335" y="297"/>
                    <a:pt x="331" y="346"/>
                    <a:pt x="377" y="337"/>
                  </a:cubicBezTo>
                  <a:cubicBezTo>
                    <a:pt x="370" y="315"/>
                    <a:pt x="368" y="275"/>
                    <a:pt x="368" y="239"/>
                  </a:cubicBezTo>
                  <a:cubicBezTo>
                    <a:pt x="368" y="141"/>
                    <a:pt x="384" y="109"/>
                    <a:pt x="404" y="109"/>
                  </a:cubicBezTo>
                  <a:cubicBezTo>
                    <a:pt x="419" y="109"/>
                    <a:pt x="423" y="128"/>
                    <a:pt x="423" y="148"/>
                  </a:cubicBezTo>
                  <a:cubicBezTo>
                    <a:pt x="423" y="158"/>
                    <a:pt x="422" y="170"/>
                    <a:pt x="420" y="182"/>
                  </a:cubicBezTo>
                  <a:cubicBezTo>
                    <a:pt x="395" y="197"/>
                    <a:pt x="375" y="210"/>
                    <a:pt x="375" y="225"/>
                  </a:cubicBezTo>
                  <a:cubicBezTo>
                    <a:pt x="375" y="238"/>
                    <a:pt x="384" y="239"/>
                    <a:pt x="392" y="239"/>
                  </a:cubicBezTo>
                  <a:cubicBezTo>
                    <a:pt x="411" y="239"/>
                    <a:pt x="434" y="220"/>
                    <a:pt x="447" y="185"/>
                  </a:cubicBezTo>
                  <a:cubicBezTo>
                    <a:pt x="458" y="178"/>
                    <a:pt x="469" y="170"/>
                    <a:pt x="480" y="160"/>
                  </a:cubicBezTo>
                  <a:cubicBezTo>
                    <a:pt x="480" y="164"/>
                    <a:pt x="479" y="167"/>
                    <a:pt x="479" y="171"/>
                  </a:cubicBezTo>
                  <a:cubicBezTo>
                    <a:pt x="479" y="206"/>
                    <a:pt x="495" y="227"/>
                    <a:pt x="519" y="227"/>
                  </a:cubicBezTo>
                  <a:cubicBezTo>
                    <a:pt x="538" y="227"/>
                    <a:pt x="553" y="214"/>
                    <a:pt x="563" y="193"/>
                  </a:cubicBezTo>
                  <a:cubicBezTo>
                    <a:pt x="564" y="205"/>
                    <a:pt x="564" y="216"/>
                    <a:pt x="564" y="226"/>
                  </a:cubicBezTo>
                  <a:cubicBezTo>
                    <a:pt x="525" y="244"/>
                    <a:pt x="482" y="262"/>
                    <a:pt x="482" y="313"/>
                  </a:cubicBezTo>
                  <a:cubicBezTo>
                    <a:pt x="482" y="339"/>
                    <a:pt x="501" y="359"/>
                    <a:pt x="526" y="359"/>
                  </a:cubicBezTo>
                  <a:cubicBezTo>
                    <a:pt x="580" y="359"/>
                    <a:pt x="593" y="302"/>
                    <a:pt x="593" y="235"/>
                  </a:cubicBezTo>
                  <a:cubicBezTo>
                    <a:pt x="611" y="227"/>
                    <a:pt x="624" y="222"/>
                    <a:pt x="639" y="214"/>
                  </a:cubicBezTo>
                  <a:cubicBezTo>
                    <a:pt x="652" y="230"/>
                    <a:pt x="670" y="238"/>
                    <a:pt x="686" y="238"/>
                  </a:cubicBezTo>
                  <a:cubicBezTo>
                    <a:pt x="717" y="238"/>
                    <a:pt x="740" y="222"/>
                    <a:pt x="758" y="189"/>
                  </a:cubicBezTo>
                  <a:cubicBezTo>
                    <a:pt x="762" y="214"/>
                    <a:pt x="768" y="238"/>
                    <a:pt x="781" y="238"/>
                  </a:cubicBezTo>
                  <a:cubicBezTo>
                    <a:pt x="806" y="238"/>
                    <a:pt x="811" y="111"/>
                    <a:pt x="829" y="111"/>
                  </a:cubicBezTo>
                  <a:cubicBezTo>
                    <a:pt x="843" y="111"/>
                    <a:pt x="831" y="249"/>
                    <a:pt x="868" y="249"/>
                  </a:cubicBezTo>
                  <a:cubicBezTo>
                    <a:pt x="899" y="249"/>
                    <a:pt x="905" y="128"/>
                    <a:pt x="920" y="128"/>
                  </a:cubicBezTo>
                  <a:cubicBezTo>
                    <a:pt x="931" y="128"/>
                    <a:pt x="932" y="238"/>
                    <a:pt x="966" y="238"/>
                  </a:cubicBezTo>
                  <a:cubicBezTo>
                    <a:pt x="983" y="238"/>
                    <a:pt x="1001" y="218"/>
                    <a:pt x="1010" y="176"/>
                  </a:cubicBezTo>
                  <a:cubicBezTo>
                    <a:pt x="1014" y="204"/>
                    <a:pt x="1028" y="238"/>
                    <a:pt x="1056" y="238"/>
                  </a:cubicBezTo>
                  <a:cubicBezTo>
                    <a:pt x="1072" y="238"/>
                    <a:pt x="1086" y="222"/>
                    <a:pt x="1097" y="200"/>
                  </a:cubicBezTo>
                  <a:cubicBezTo>
                    <a:pt x="1100" y="223"/>
                    <a:pt x="1106" y="238"/>
                    <a:pt x="1118" y="238"/>
                  </a:cubicBezTo>
                  <a:cubicBezTo>
                    <a:pt x="1150" y="238"/>
                    <a:pt x="1149" y="112"/>
                    <a:pt x="1174" y="112"/>
                  </a:cubicBezTo>
                  <a:cubicBezTo>
                    <a:pt x="1194" y="112"/>
                    <a:pt x="1188" y="238"/>
                    <a:pt x="1235" y="238"/>
                  </a:cubicBezTo>
                  <a:cubicBezTo>
                    <a:pt x="1257" y="238"/>
                    <a:pt x="1268" y="220"/>
                    <a:pt x="1274" y="196"/>
                  </a:cubicBezTo>
                  <a:cubicBezTo>
                    <a:pt x="1283" y="231"/>
                    <a:pt x="1297" y="238"/>
                    <a:pt x="1308" y="238"/>
                  </a:cubicBezTo>
                  <a:cubicBezTo>
                    <a:pt x="1315" y="238"/>
                    <a:pt x="1321" y="236"/>
                    <a:pt x="1328" y="227"/>
                  </a:cubicBezTo>
                  <a:cubicBezTo>
                    <a:pt x="1292" y="212"/>
                    <a:pt x="1295" y="155"/>
                    <a:pt x="1295" y="118"/>
                  </a:cubicBezTo>
                  <a:moveTo>
                    <a:pt x="528" y="335"/>
                  </a:moveTo>
                  <a:cubicBezTo>
                    <a:pt x="517" y="335"/>
                    <a:pt x="511" y="325"/>
                    <a:pt x="511" y="313"/>
                  </a:cubicBezTo>
                  <a:cubicBezTo>
                    <a:pt x="511" y="280"/>
                    <a:pt x="535" y="263"/>
                    <a:pt x="564" y="248"/>
                  </a:cubicBezTo>
                  <a:cubicBezTo>
                    <a:pt x="563" y="319"/>
                    <a:pt x="546" y="335"/>
                    <a:pt x="528" y="335"/>
                  </a:cubicBezTo>
                  <a:moveTo>
                    <a:pt x="674" y="105"/>
                  </a:moveTo>
                  <a:cubicBezTo>
                    <a:pt x="685" y="105"/>
                    <a:pt x="692" y="115"/>
                    <a:pt x="691" y="129"/>
                  </a:cubicBezTo>
                  <a:cubicBezTo>
                    <a:pt x="689" y="146"/>
                    <a:pt x="677" y="166"/>
                    <a:pt x="655" y="181"/>
                  </a:cubicBezTo>
                  <a:cubicBezTo>
                    <a:pt x="644" y="149"/>
                    <a:pt x="653" y="105"/>
                    <a:pt x="674" y="105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5" name="Freeform 13"/>
            <p:cNvSpPr>
              <a:spLocks/>
            </p:cNvSpPr>
            <p:nvPr userDrawn="1"/>
          </p:nvSpPr>
          <p:spPr bwMode="auto">
            <a:xfrm>
              <a:off x="4013200" y="4541838"/>
              <a:ext cx="120650" cy="127000"/>
            </a:xfrm>
            <a:custGeom>
              <a:avLst/>
              <a:gdLst/>
              <a:ahLst/>
              <a:cxnLst>
                <a:cxn ang="0">
                  <a:pos x="19" y="39"/>
                </a:cxn>
                <a:cxn ang="0">
                  <a:pos x="37" y="19"/>
                </a:cxn>
                <a:cxn ang="0">
                  <a:pos x="19" y="0"/>
                </a:cxn>
                <a:cxn ang="0">
                  <a:pos x="0" y="20"/>
                </a:cxn>
                <a:cxn ang="0">
                  <a:pos x="19" y="39"/>
                </a:cxn>
              </a:cxnLst>
              <a:rect l="0" t="0" r="r" b="b"/>
              <a:pathLst>
                <a:path w="37" h="39">
                  <a:moveTo>
                    <a:pt x="19" y="39"/>
                  </a:moveTo>
                  <a:cubicBezTo>
                    <a:pt x="30" y="38"/>
                    <a:pt x="37" y="29"/>
                    <a:pt x="37" y="19"/>
                  </a:cubicBezTo>
                  <a:cubicBezTo>
                    <a:pt x="37" y="8"/>
                    <a:pt x="30" y="0"/>
                    <a:pt x="19" y="0"/>
                  </a:cubicBezTo>
                  <a:cubicBezTo>
                    <a:pt x="9" y="1"/>
                    <a:pt x="0" y="9"/>
                    <a:pt x="0" y="20"/>
                  </a:cubicBezTo>
                  <a:cubicBezTo>
                    <a:pt x="0" y="31"/>
                    <a:pt x="9" y="39"/>
                    <a:pt x="19" y="39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6" name="Freeform 14"/>
            <p:cNvSpPr>
              <a:spLocks/>
            </p:cNvSpPr>
            <p:nvPr userDrawn="1"/>
          </p:nvSpPr>
          <p:spPr bwMode="auto">
            <a:xfrm>
              <a:off x="4870450" y="4564063"/>
              <a:ext cx="112713" cy="125413"/>
            </a:xfrm>
            <a:custGeom>
              <a:avLst/>
              <a:gdLst/>
              <a:ahLst/>
              <a:cxnLst>
                <a:cxn ang="0">
                  <a:pos x="17" y="37"/>
                </a:cxn>
                <a:cxn ang="0">
                  <a:pos x="34" y="18"/>
                </a:cxn>
                <a:cxn ang="0">
                  <a:pos x="17" y="0"/>
                </a:cxn>
                <a:cxn ang="0">
                  <a:pos x="0" y="19"/>
                </a:cxn>
                <a:cxn ang="0">
                  <a:pos x="17" y="37"/>
                </a:cxn>
              </a:cxnLst>
              <a:rect l="0" t="0" r="r" b="b"/>
              <a:pathLst>
                <a:path w="34" h="38">
                  <a:moveTo>
                    <a:pt x="17" y="37"/>
                  </a:moveTo>
                  <a:cubicBezTo>
                    <a:pt x="26" y="37"/>
                    <a:pt x="34" y="28"/>
                    <a:pt x="34" y="18"/>
                  </a:cubicBezTo>
                  <a:cubicBezTo>
                    <a:pt x="34" y="8"/>
                    <a:pt x="26" y="0"/>
                    <a:pt x="17" y="0"/>
                  </a:cubicBezTo>
                  <a:cubicBezTo>
                    <a:pt x="7" y="1"/>
                    <a:pt x="0" y="9"/>
                    <a:pt x="0" y="19"/>
                  </a:cubicBezTo>
                  <a:cubicBezTo>
                    <a:pt x="0" y="30"/>
                    <a:pt x="7" y="38"/>
                    <a:pt x="17" y="37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7" name="Freeform 15"/>
            <p:cNvSpPr>
              <a:spLocks/>
            </p:cNvSpPr>
            <p:nvPr userDrawn="1"/>
          </p:nvSpPr>
          <p:spPr bwMode="auto">
            <a:xfrm>
              <a:off x="5143500" y="4465638"/>
              <a:ext cx="939800" cy="796925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0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8" y="210"/>
                </a:cxn>
                <a:cxn ang="0">
                  <a:pos x="240" y="111"/>
                </a:cxn>
                <a:cxn ang="0">
                  <a:pos x="287" y="154"/>
                </a:cxn>
                <a:cxn ang="0">
                  <a:pos x="286" y="152"/>
                </a:cxn>
              </a:cxnLst>
              <a:rect l="0" t="0" r="r" b="b"/>
              <a:pathLst>
                <a:path w="287" h="243">
                  <a:moveTo>
                    <a:pt x="286" y="152"/>
                  </a:moveTo>
                  <a:cubicBezTo>
                    <a:pt x="286" y="111"/>
                    <a:pt x="267" y="77"/>
                    <a:pt x="237" y="50"/>
                  </a:cubicBezTo>
                  <a:cubicBezTo>
                    <a:pt x="215" y="30"/>
                    <a:pt x="188" y="14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3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7" y="222"/>
                    <a:pt x="148" y="210"/>
                  </a:cubicBezTo>
                  <a:cubicBezTo>
                    <a:pt x="182" y="171"/>
                    <a:pt x="197" y="111"/>
                    <a:pt x="240" y="111"/>
                  </a:cubicBezTo>
                  <a:cubicBezTo>
                    <a:pt x="279" y="111"/>
                    <a:pt x="284" y="139"/>
                    <a:pt x="287" y="154"/>
                  </a:cubicBezTo>
                  <a:cubicBezTo>
                    <a:pt x="287" y="154"/>
                    <a:pt x="287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1498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935">
          <p15:clr>
            <a:srgbClr val="FBAE40"/>
          </p15:clr>
        </p15:guide>
        <p15:guide id="2" pos="257">
          <p15:clr>
            <a:srgbClr val="FBAE40"/>
          </p15:clr>
        </p15:guide>
        <p15:guide id="3" pos="3160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4">
    <p:bg>
      <p:bgPr>
        <a:solidFill>
          <a:srgbClr val="E6E7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271" name="Freeform 7"/>
          <p:cNvSpPr>
            <a:spLocks/>
          </p:cNvSpPr>
          <p:nvPr userDrawn="1"/>
        </p:nvSpPr>
        <p:spPr bwMode="auto">
          <a:xfrm>
            <a:off x="5892403" y="1"/>
            <a:ext cx="6327776" cy="5670550"/>
          </a:xfrm>
          <a:custGeom>
            <a:avLst/>
            <a:gdLst/>
            <a:ahLst/>
            <a:cxnLst>
              <a:cxn ang="0">
                <a:pos x="3986" y="2526"/>
              </a:cxn>
              <a:cxn ang="0">
                <a:pos x="3986" y="2512"/>
              </a:cxn>
              <a:cxn ang="0">
                <a:pos x="3986" y="0"/>
              </a:cxn>
              <a:cxn ang="0">
                <a:pos x="648" y="0"/>
              </a:cxn>
              <a:cxn ang="0">
                <a:pos x="682" y="84"/>
              </a:cxn>
              <a:cxn ang="0">
                <a:pos x="698" y="132"/>
              </a:cxn>
              <a:cxn ang="0">
                <a:pos x="724" y="230"/>
              </a:cxn>
              <a:cxn ang="0">
                <a:pos x="738" y="328"/>
              </a:cxn>
              <a:cxn ang="0">
                <a:pos x="744" y="428"/>
              </a:cxn>
              <a:cxn ang="0">
                <a:pos x="744" y="478"/>
              </a:cxn>
              <a:cxn ang="0">
                <a:pos x="734" y="656"/>
              </a:cxn>
              <a:cxn ang="0">
                <a:pos x="710" y="830"/>
              </a:cxn>
              <a:cxn ang="0">
                <a:pos x="674" y="1002"/>
              </a:cxn>
              <a:cxn ang="0">
                <a:pos x="628" y="1172"/>
              </a:cxn>
              <a:cxn ang="0">
                <a:pos x="590" y="1296"/>
              </a:cxn>
              <a:cxn ang="0">
                <a:pos x="504" y="1542"/>
              </a:cxn>
              <a:cxn ang="0">
                <a:pos x="406" y="1782"/>
              </a:cxn>
              <a:cxn ang="0">
                <a:pos x="300" y="2020"/>
              </a:cxn>
              <a:cxn ang="0">
                <a:pos x="244" y="2136"/>
              </a:cxn>
              <a:cxn ang="0">
                <a:pos x="128" y="2366"/>
              </a:cxn>
              <a:cxn ang="0">
                <a:pos x="8" y="2594"/>
              </a:cxn>
              <a:cxn ang="0">
                <a:pos x="0" y="2608"/>
              </a:cxn>
              <a:cxn ang="0">
                <a:pos x="0" y="2612"/>
              </a:cxn>
              <a:cxn ang="0">
                <a:pos x="50" y="2690"/>
              </a:cxn>
              <a:cxn ang="0">
                <a:pos x="100" y="2766"/>
              </a:cxn>
              <a:cxn ang="0">
                <a:pos x="190" y="2890"/>
              </a:cxn>
              <a:cxn ang="0">
                <a:pos x="286" y="3006"/>
              </a:cxn>
              <a:cxn ang="0">
                <a:pos x="390" y="3116"/>
              </a:cxn>
              <a:cxn ang="0">
                <a:pos x="502" y="3220"/>
              </a:cxn>
              <a:cxn ang="0">
                <a:pos x="540" y="3252"/>
              </a:cxn>
              <a:cxn ang="0">
                <a:pos x="622" y="3312"/>
              </a:cxn>
              <a:cxn ang="0">
                <a:pos x="706" y="3366"/>
              </a:cxn>
              <a:cxn ang="0">
                <a:pos x="792" y="3414"/>
              </a:cxn>
              <a:cxn ang="0">
                <a:pos x="882" y="3456"/>
              </a:cxn>
              <a:cxn ang="0">
                <a:pos x="976" y="3492"/>
              </a:cxn>
              <a:cxn ang="0">
                <a:pos x="1070" y="3520"/>
              </a:cxn>
              <a:cxn ang="0">
                <a:pos x="1170" y="3542"/>
              </a:cxn>
              <a:cxn ang="0">
                <a:pos x="1220" y="3552"/>
              </a:cxn>
              <a:cxn ang="0">
                <a:pos x="1374" y="3568"/>
              </a:cxn>
              <a:cxn ang="0">
                <a:pos x="1382" y="3568"/>
              </a:cxn>
              <a:cxn ang="0">
                <a:pos x="1390" y="3572"/>
              </a:cxn>
              <a:cxn ang="0">
                <a:pos x="1420" y="3572"/>
              </a:cxn>
              <a:cxn ang="0">
                <a:pos x="1544" y="3572"/>
              </a:cxn>
              <a:cxn ang="0">
                <a:pos x="1544" y="3568"/>
              </a:cxn>
              <a:cxn ang="0">
                <a:pos x="1610" y="3564"/>
              </a:cxn>
              <a:cxn ang="0">
                <a:pos x="1740" y="3552"/>
              </a:cxn>
              <a:cxn ang="0">
                <a:pos x="1870" y="3530"/>
              </a:cxn>
              <a:cxn ang="0">
                <a:pos x="1998" y="3502"/>
              </a:cxn>
              <a:cxn ang="0">
                <a:pos x="2062" y="3486"/>
              </a:cxn>
              <a:cxn ang="0">
                <a:pos x="2262" y="3426"/>
              </a:cxn>
              <a:cxn ang="0">
                <a:pos x="2458" y="3356"/>
              </a:cxn>
              <a:cxn ang="0">
                <a:pos x="2650" y="3276"/>
              </a:cxn>
              <a:cxn ang="0">
                <a:pos x="2840" y="3190"/>
              </a:cxn>
              <a:cxn ang="0">
                <a:pos x="2966" y="3128"/>
              </a:cxn>
              <a:cxn ang="0">
                <a:pos x="3218" y="2996"/>
              </a:cxn>
              <a:cxn ang="0">
                <a:pos x="3464" y="2858"/>
              </a:cxn>
              <a:cxn ang="0">
                <a:pos x="3708" y="2714"/>
              </a:cxn>
              <a:cxn ang="0">
                <a:pos x="3828" y="2640"/>
              </a:cxn>
              <a:cxn ang="0">
                <a:pos x="3974" y="2548"/>
              </a:cxn>
              <a:cxn ang="0">
                <a:pos x="3984" y="2540"/>
              </a:cxn>
              <a:cxn ang="0">
                <a:pos x="3986" y="2526"/>
              </a:cxn>
            </a:cxnLst>
            <a:rect l="0" t="0" r="r" b="b"/>
            <a:pathLst>
              <a:path w="3986" h="3572">
                <a:moveTo>
                  <a:pt x="3986" y="2526"/>
                </a:moveTo>
                <a:lnTo>
                  <a:pt x="3986" y="2526"/>
                </a:lnTo>
                <a:lnTo>
                  <a:pt x="3986" y="2512"/>
                </a:lnTo>
                <a:lnTo>
                  <a:pt x="3986" y="2512"/>
                </a:lnTo>
                <a:lnTo>
                  <a:pt x="3986" y="0"/>
                </a:lnTo>
                <a:lnTo>
                  <a:pt x="3986" y="0"/>
                </a:lnTo>
                <a:lnTo>
                  <a:pt x="648" y="0"/>
                </a:lnTo>
                <a:lnTo>
                  <a:pt x="648" y="0"/>
                </a:lnTo>
                <a:lnTo>
                  <a:pt x="666" y="42"/>
                </a:lnTo>
                <a:lnTo>
                  <a:pt x="682" y="84"/>
                </a:lnTo>
                <a:lnTo>
                  <a:pt x="682" y="84"/>
                </a:lnTo>
                <a:lnTo>
                  <a:pt x="698" y="132"/>
                </a:lnTo>
                <a:lnTo>
                  <a:pt x="712" y="182"/>
                </a:lnTo>
                <a:lnTo>
                  <a:pt x="724" y="230"/>
                </a:lnTo>
                <a:lnTo>
                  <a:pt x="732" y="280"/>
                </a:lnTo>
                <a:lnTo>
                  <a:pt x="738" y="328"/>
                </a:lnTo>
                <a:lnTo>
                  <a:pt x="742" y="378"/>
                </a:lnTo>
                <a:lnTo>
                  <a:pt x="744" y="428"/>
                </a:lnTo>
                <a:lnTo>
                  <a:pt x="744" y="478"/>
                </a:lnTo>
                <a:lnTo>
                  <a:pt x="744" y="478"/>
                </a:lnTo>
                <a:lnTo>
                  <a:pt x="742" y="568"/>
                </a:lnTo>
                <a:lnTo>
                  <a:pt x="734" y="656"/>
                </a:lnTo>
                <a:lnTo>
                  <a:pt x="724" y="742"/>
                </a:lnTo>
                <a:lnTo>
                  <a:pt x="710" y="830"/>
                </a:lnTo>
                <a:lnTo>
                  <a:pt x="694" y="916"/>
                </a:lnTo>
                <a:lnTo>
                  <a:pt x="674" y="1002"/>
                </a:lnTo>
                <a:lnTo>
                  <a:pt x="652" y="1088"/>
                </a:lnTo>
                <a:lnTo>
                  <a:pt x="628" y="1172"/>
                </a:lnTo>
                <a:lnTo>
                  <a:pt x="628" y="1172"/>
                </a:lnTo>
                <a:lnTo>
                  <a:pt x="590" y="1296"/>
                </a:lnTo>
                <a:lnTo>
                  <a:pt x="548" y="1420"/>
                </a:lnTo>
                <a:lnTo>
                  <a:pt x="504" y="1542"/>
                </a:lnTo>
                <a:lnTo>
                  <a:pt x="456" y="1662"/>
                </a:lnTo>
                <a:lnTo>
                  <a:pt x="406" y="1782"/>
                </a:lnTo>
                <a:lnTo>
                  <a:pt x="354" y="1900"/>
                </a:lnTo>
                <a:lnTo>
                  <a:pt x="300" y="2020"/>
                </a:lnTo>
                <a:lnTo>
                  <a:pt x="244" y="2136"/>
                </a:lnTo>
                <a:lnTo>
                  <a:pt x="244" y="2136"/>
                </a:lnTo>
                <a:lnTo>
                  <a:pt x="188" y="2252"/>
                </a:lnTo>
                <a:lnTo>
                  <a:pt x="128" y="2366"/>
                </a:lnTo>
                <a:lnTo>
                  <a:pt x="70" y="2480"/>
                </a:lnTo>
                <a:lnTo>
                  <a:pt x="8" y="2594"/>
                </a:lnTo>
                <a:lnTo>
                  <a:pt x="8" y="2594"/>
                </a:lnTo>
                <a:lnTo>
                  <a:pt x="0" y="2608"/>
                </a:lnTo>
                <a:lnTo>
                  <a:pt x="0" y="2608"/>
                </a:lnTo>
                <a:lnTo>
                  <a:pt x="0" y="2612"/>
                </a:lnTo>
                <a:lnTo>
                  <a:pt x="0" y="2612"/>
                </a:lnTo>
                <a:lnTo>
                  <a:pt x="50" y="2690"/>
                </a:lnTo>
                <a:lnTo>
                  <a:pt x="100" y="2766"/>
                </a:lnTo>
                <a:lnTo>
                  <a:pt x="100" y="2766"/>
                </a:lnTo>
                <a:lnTo>
                  <a:pt x="144" y="2828"/>
                </a:lnTo>
                <a:lnTo>
                  <a:pt x="190" y="2890"/>
                </a:lnTo>
                <a:lnTo>
                  <a:pt x="236" y="2948"/>
                </a:lnTo>
                <a:lnTo>
                  <a:pt x="286" y="3006"/>
                </a:lnTo>
                <a:lnTo>
                  <a:pt x="336" y="3062"/>
                </a:lnTo>
                <a:lnTo>
                  <a:pt x="390" y="3116"/>
                </a:lnTo>
                <a:lnTo>
                  <a:pt x="444" y="3170"/>
                </a:lnTo>
                <a:lnTo>
                  <a:pt x="502" y="3220"/>
                </a:lnTo>
                <a:lnTo>
                  <a:pt x="502" y="3220"/>
                </a:lnTo>
                <a:lnTo>
                  <a:pt x="540" y="3252"/>
                </a:lnTo>
                <a:lnTo>
                  <a:pt x="582" y="3282"/>
                </a:lnTo>
                <a:lnTo>
                  <a:pt x="622" y="3312"/>
                </a:lnTo>
                <a:lnTo>
                  <a:pt x="664" y="3340"/>
                </a:lnTo>
                <a:lnTo>
                  <a:pt x="706" y="3366"/>
                </a:lnTo>
                <a:lnTo>
                  <a:pt x="750" y="3390"/>
                </a:lnTo>
                <a:lnTo>
                  <a:pt x="792" y="3414"/>
                </a:lnTo>
                <a:lnTo>
                  <a:pt x="838" y="3436"/>
                </a:lnTo>
                <a:lnTo>
                  <a:pt x="882" y="3456"/>
                </a:lnTo>
                <a:lnTo>
                  <a:pt x="928" y="3474"/>
                </a:lnTo>
                <a:lnTo>
                  <a:pt x="976" y="3492"/>
                </a:lnTo>
                <a:lnTo>
                  <a:pt x="1022" y="3506"/>
                </a:lnTo>
                <a:lnTo>
                  <a:pt x="1070" y="3520"/>
                </a:lnTo>
                <a:lnTo>
                  <a:pt x="1120" y="3532"/>
                </a:lnTo>
                <a:lnTo>
                  <a:pt x="1170" y="3542"/>
                </a:lnTo>
                <a:lnTo>
                  <a:pt x="1220" y="3552"/>
                </a:lnTo>
                <a:lnTo>
                  <a:pt x="1220" y="3552"/>
                </a:lnTo>
                <a:lnTo>
                  <a:pt x="1296" y="3562"/>
                </a:lnTo>
                <a:lnTo>
                  <a:pt x="1374" y="3568"/>
                </a:lnTo>
                <a:lnTo>
                  <a:pt x="1374" y="3568"/>
                </a:lnTo>
                <a:lnTo>
                  <a:pt x="1382" y="3568"/>
                </a:lnTo>
                <a:lnTo>
                  <a:pt x="1386" y="3568"/>
                </a:lnTo>
                <a:lnTo>
                  <a:pt x="1390" y="3572"/>
                </a:lnTo>
                <a:lnTo>
                  <a:pt x="1390" y="3572"/>
                </a:lnTo>
                <a:lnTo>
                  <a:pt x="1420" y="3572"/>
                </a:lnTo>
                <a:lnTo>
                  <a:pt x="1420" y="3572"/>
                </a:lnTo>
                <a:lnTo>
                  <a:pt x="1544" y="3572"/>
                </a:lnTo>
                <a:lnTo>
                  <a:pt x="1544" y="3572"/>
                </a:lnTo>
                <a:lnTo>
                  <a:pt x="1544" y="3568"/>
                </a:lnTo>
                <a:lnTo>
                  <a:pt x="1544" y="3568"/>
                </a:lnTo>
                <a:lnTo>
                  <a:pt x="1610" y="3564"/>
                </a:lnTo>
                <a:lnTo>
                  <a:pt x="1676" y="3558"/>
                </a:lnTo>
                <a:lnTo>
                  <a:pt x="1740" y="3552"/>
                </a:lnTo>
                <a:lnTo>
                  <a:pt x="1806" y="3542"/>
                </a:lnTo>
                <a:lnTo>
                  <a:pt x="1870" y="3530"/>
                </a:lnTo>
                <a:lnTo>
                  <a:pt x="1934" y="3516"/>
                </a:lnTo>
                <a:lnTo>
                  <a:pt x="1998" y="3502"/>
                </a:lnTo>
                <a:lnTo>
                  <a:pt x="2062" y="3486"/>
                </a:lnTo>
                <a:lnTo>
                  <a:pt x="2062" y="3486"/>
                </a:lnTo>
                <a:lnTo>
                  <a:pt x="2162" y="3458"/>
                </a:lnTo>
                <a:lnTo>
                  <a:pt x="2262" y="3426"/>
                </a:lnTo>
                <a:lnTo>
                  <a:pt x="2360" y="3392"/>
                </a:lnTo>
                <a:lnTo>
                  <a:pt x="2458" y="3356"/>
                </a:lnTo>
                <a:lnTo>
                  <a:pt x="2554" y="3316"/>
                </a:lnTo>
                <a:lnTo>
                  <a:pt x="2650" y="3276"/>
                </a:lnTo>
                <a:lnTo>
                  <a:pt x="2746" y="3234"/>
                </a:lnTo>
                <a:lnTo>
                  <a:pt x="2840" y="3190"/>
                </a:lnTo>
                <a:lnTo>
                  <a:pt x="2840" y="3190"/>
                </a:lnTo>
                <a:lnTo>
                  <a:pt x="2966" y="3128"/>
                </a:lnTo>
                <a:lnTo>
                  <a:pt x="3092" y="3062"/>
                </a:lnTo>
                <a:lnTo>
                  <a:pt x="3218" y="2996"/>
                </a:lnTo>
                <a:lnTo>
                  <a:pt x="3342" y="2928"/>
                </a:lnTo>
                <a:lnTo>
                  <a:pt x="3464" y="2858"/>
                </a:lnTo>
                <a:lnTo>
                  <a:pt x="3586" y="2786"/>
                </a:lnTo>
                <a:lnTo>
                  <a:pt x="3708" y="2714"/>
                </a:lnTo>
                <a:lnTo>
                  <a:pt x="3828" y="2640"/>
                </a:lnTo>
                <a:lnTo>
                  <a:pt x="3828" y="2640"/>
                </a:lnTo>
                <a:lnTo>
                  <a:pt x="3974" y="2548"/>
                </a:lnTo>
                <a:lnTo>
                  <a:pt x="3974" y="2548"/>
                </a:lnTo>
                <a:lnTo>
                  <a:pt x="3980" y="2544"/>
                </a:lnTo>
                <a:lnTo>
                  <a:pt x="3984" y="2540"/>
                </a:lnTo>
                <a:lnTo>
                  <a:pt x="3986" y="2534"/>
                </a:lnTo>
                <a:lnTo>
                  <a:pt x="3986" y="2526"/>
                </a:lnTo>
                <a:lnTo>
                  <a:pt x="3986" y="2526"/>
                </a:ln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07988" y="2339788"/>
            <a:ext cx="4967932" cy="144989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>
              <a:lnSpc>
                <a:spcPts val="3000"/>
              </a:lnSpc>
              <a:defRPr lang="en-US" sz="2600" b="0" dirty="0">
                <a:solidFill>
                  <a:schemeClr val="accent1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07988" y="3932559"/>
            <a:ext cx="4967932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accent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sp>
        <p:nvSpPr>
          <p:cNvPr id="16" name="Picture Placeholder 11">
            <a:extLst>
              <a:ext uri="{FF2B5EF4-FFF2-40B4-BE49-F238E27FC236}">
                <a16:creationId xmlns="" xmlns:a16="http://schemas.microsoft.com/office/drawing/2014/main" id="{D4E263B9-5E55-409E-9F7C-2F67A89E06A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537200" y="-1588"/>
            <a:ext cx="6654800" cy="6859588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pt-PT"/>
          </a:p>
        </p:txBody>
      </p:sp>
      <p:grpSp>
        <p:nvGrpSpPr>
          <p:cNvPr id="17" name="Group 14"/>
          <p:cNvGrpSpPr>
            <a:grpSpLocks noChangeAspect="1"/>
          </p:cNvGrpSpPr>
          <p:nvPr userDrawn="1"/>
        </p:nvGrpSpPr>
        <p:grpSpPr>
          <a:xfrm>
            <a:off x="407988" y="695702"/>
            <a:ext cx="5040000" cy="1123653"/>
            <a:chOff x="728663" y="4465638"/>
            <a:chExt cx="5354637" cy="1193800"/>
          </a:xfrm>
        </p:grpSpPr>
        <p:sp>
          <p:nvSpPr>
            <p:cNvPr id="18" name="Freeform 11"/>
            <p:cNvSpPr>
              <a:spLocks/>
            </p:cNvSpPr>
            <p:nvPr userDrawn="1"/>
          </p:nvSpPr>
          <p:spPr bwMode="auto">
            <a:xfrm>
              <a:off x="5464175" y="4830763"/>
              <a:ext cx="619125" cy="503238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9" y="43"/>
                </a:cxn>
                <a:cxn ang="0">
                  <a:pos x="142" y="0"/>
                </a:cxn>
                <a:cxn ang="0">
                  <a:pos x="50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5"/>
                </a:cxn>
                <a:cxn ang="0">
                  <a:pos x="125" y="107"/>
                </a:cxn>
              </a:cxnLst>
              <a:rect l="0" t="0" r="r" b="b"/>
              <a:pathLst>
                <a:path w="189" h="154">
                  <a:moveTo>
                    <a:pt x="125" y="107"/>
                  </a:moveTo>
                  <a:cubicBezTo>
                    <a:pt x="161" y="107"/>
                    <a:pt x="188" y="78"/>
                    <a:pt x="189" y="43"/>
                  </a:cubicBezTo>
                  <a:cubicBezTo>
                    <a:pt x="186" y="28"/>
                    <a:pt x="181" y="0"/>
                    <a:pt x="142" y="0"/>
                  </a:cubicBezTo>
                  <a:cubicBezTo>
                    <a:pt x="99" y="0"/>
                    <a:pt x="84" y="60"/>
                    <a:pt x="50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5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9" name="Freeform 12"/>
            <p:cNvSpPr>
              <a:spLocks noEditPoints="1"/>
            </p:cNvSpPr>
            <p:nvPr userDrawn="1"/>
          </p:nvSpPr>
          <p:spPr bwMode="auto">
            <a:xfrm>
              <a:off x="728663" y="4483100"/>
              <a:ext cx="4352925" cy="1176338"/>
            </a:xfrm>
            <a:custGeom>
              <a:avLst/>
              <a:gdLst/>
              <a:ahLst/>
              <a:cxnLst>
                <a:cxn ang="0">
                  <a:pos x="1281" y="86"/>
                </a:cxn>
                <a:cxn ang="0">
                  <a:pos x="1240" y="210"/>
                </a:cxn>
                <a:cxn ang="0">
                  <a:pos x="1122" y="182"/>
                </a:cxn>
                <a:cxn ang="0">
                  <a:pos x="1121" y="104"/>
                </a:cxn>
                <a:cxn ang="0">
                  <a:pos x="1061" y="211"/>
                </a:cxn>
                <a:cxn ang="0">
                  <a:pos x="1007" y="84"/>
                </a:cxn>
                <a:cxn ang="0">
                  <a:pos x="924" y="86"/>
                </a:cxn>
                <a:cxn ang="0">
                  <a:pos x="830" y="72"/>
                </a:cxn>
                <a:cxn ang="0">
                  <a:pos x="781" y="160"/>
                </a:cxn>
                <a:cxn ang="0">
                  <a:pos x="756" y="81"/>
                </a:cxn>
                <a:cxn ang="0">
                  <a:pos x="666" y="200"/>
                </a:cxn>
                <a:cxn ang="0">
                  <a:pos x="677" y="82"/>
                </a:cxn>
                <a:cxn ang="0">
                  <a:pos x="628" y="196"/>
                </a:cxn>
                <a:cxn ang="0">
                  <a:pos x="585" y="113"/>
                </a:cxn>
                <a:cxn ang="0">
                  <a:pos x="527" y="198"/>
                </a:cxn>
                <a:cxn ang="0">
                  <a:pos x="586" y="102"/>
                </a:cxn>
                <a:cxn ang="0">
                  <a:pos x="493" y="118"/>
                </a:cxn>
                <a:cxn ang="0">
                  <a:pos x="454" y="147"/>
                </a:cxn>
                <a:cxn ang="0">
                  <a:pos x="368" y="111"/>
                </a:cxn>
                <a:cxn ang="0">
                  <a:pos x="335" y="90"/>
                </a:cxn>
                <a:cxn ang="0">
                  <a:pos x="309" y="215"/>
                </a:cxn>
                <a:cxn ang="0">
                  <a:pos x="280" y="124"/>
                </a:cxn>
                <a:cxn ang="0">
                  <a:pos x="224" y="211"/>
                </a:cxn>
                <a:cxn ang="0">
                  <a:pos x="286" y="113"/>
                </a:cxn>
                <a:cxn ang="0">
                  <a:pos x="182" y="145"/>
                </a:cxn>
                <a:cxn ang="0">
                  <a:pos x="39" y="128"/>
                </a:cxn>
                <a:cxn ang="0">
                  <a:pos x="136" y="72"/>
                </a:cxn>
                <a:cxn ang="0">
                  <a:pos x="109" y="0"/>
                </a:cxn>
                <a:cxn ang="0">
                  <a:pos x="90" y="249"/>
                </a:cxn>
                <a:cxn ang="0">
                  <a:pos x="218" y="238"/>
                </a:cxn>
                <a:cxn ang="0">
                  <a:pos x="306" y="238"/>
                </a:cxn>
                <a:cxn ang="0">
                  <a:pos x="377" y="337"/>
                </a:cxn>
                <a:cxn ang="0">
                  <a:pos x="404" y="109"/>
                </a:cxn>
                <a:cxn ang="0">
                  <a:pos x="420" y="182"/>
                </a:cxn>
                <a:cxn ang="0">
                  <a:pos x="392" y="239"/>
                </a:cxn>
                <a:cxn ang="0">
                  <a:pos x="480" y="160"/>
                </a:cxn>
                <a:cxn ang="0">
                  <a:pos x="519" y="227"/>
                </a:cxn>
                <a:cxn ang="0">
                  <a:pos x="564" y="226"/>
                </a:cxn>
                <a:cxn ang="0">
                  <a:pos x="526" y="359"/>
                </a:cxn>
                <a:cxn ang="0">
                  <a:pos x="639" y="214"/>
                </a:cxn>
                <a:cxn ang="0">
                  <a:pos x="758" y="189"/>
                </a:cxn>
                <a:cxn ang="0">
                  <a:pos x="829" y="111"/>
                </a:cxn>
                <a:cxn ang="0">
                  <a:pos x="920" y="128"/>
                </a:cxn>
                <a:cxn ang="0">
                  <a:pos x="1010" y="176"/>
                </a:cxn>
                <a:cxn ang="0">
                  <a:pos x="1097" y="200"/>
                </a:cxn>
                <a:cxn ang="0">
                  <a:pos x="1174" y="112"/>
                </a:cxn>
                <a:cxn ang="0">
                  <a:pos x="1274" y="196"/>
                </a:cxn>
                <a:cxn ang="0">
                  <a:pos x="1328" y="227"/>
                </a:cxn>
                <a:cxn ang="0">
                  <a:pos x="528" y="335"/>
                </a:cxn>
                <a:cxn ang="0">
                  <a:pos x="564" y="248"/>
                </a:cxn>
                <a:cxn ang="0">
                  <a:pos x="674" y="105"/>
                </a:cxn>
                <a:cxn ang="0">
                  <a:pos x="655" y="181"/>
                </a:cxn>
              </a:cxnLst>
              <a:rect l="0" t="0" r="r" b="b"/>
              <a:pathLst>
                <a:path w="1328" h="359">
                  <a:moveTo>
                    <a:pt x="1295" y="118"/>
                  </a:moveTo>
                  <a:cubicBezTo>
                    <a:pt x="1295" y="99"/>
                    <a:pt x="1294" y="86"/>
                    <a:pt x="1281" y="86"/>
                  </a:cubicBezTo>
                  <a:cubicBezTo>
                    <a:pt x="1275" y="86"/>
                    <a:pt x="1273" y="87"/>
                    <a:pt x="1268" y="89"/>
                  </a:cubicBezTo>
                  <a:cubicBezTo>
                    <a:pt x="1272" y="153"/>
                    <a:pt x="1258" y="210"/>
                    <a:pt x="1240" y="210"/>
                  </a:cubicBezTo>
                  <a:cubicBezTo>
                    <a:pt x="1217" y="210"/>
                    <a:pt x="1228" y="72"/>
                    <a:pt x="1179" y="72"/>
                  </a:cubicBezTo>
                  <a:cubicBezTo>
                    <a:pt x="1133" y="72"/>
                    <a:pt x="1127" y="182"/>
                    <a:pt x="1122" y="182"/>
                  </a:cubicBezTo>
                  <a:cubicBezTo>
                    <a:pt x="1118" y="182"/>
                    <a:pt x="1118" y="153"/>
                    <a:pt x="1118" y="131"/>
                  </a:cubicBezTo>
                  <a:cubicBezTo>
                    <a:pt x="1120" y="120"/>
                    <a:pt x="1121" y="111"/>
                    <a:pt x="1121" y="104"/>
                  </a:cubicBezTo>
                  <a:cubicBezTo>
                    <a:pt x="1121" y="93"/>
                    <a:pt x="1117" y="76"/>
                    <a:pt x="1093" y="84"/>
                  </a:cubicBezTo>
                  <a:cubicBezTo>
                    <a:pt x="1094" y="163"/>
                    <a:pt x="1078" y="211"/>
                    <a:pt x="1061" y="211"/>
                  </a:cubicBezTo>
                  <a:cubicBezTo>
                    <a:pt x="1035" y="211"/>
                    <a:pt x="1034" y="139"/>
                    <a:pt x="1034" y="120"/>
                  </a:cubicBezTo>
                  <a:cubicBezTo>
                    <a:pt x="1034" y="101"/>
                    <a:pt x="1036" y="75"/>
                    <a:pt x="1007" y="84"/>
                  </a:cubicBezTo>
                  <a:cubicBezTo>
                    <a:pt x="1003" y="153"/>
                    <a:pt x="985" y="204"/>
                    <a:pt x="974" y="204"/>
                  </a:cubicBezTo>
                  <a:cubicBezTo>
                    <a:pt x="957" y="204"/>
                    <a:pt x="960" y="86"/>
                    <a:pt x="924" y="86"/>
                  </a:cubicBezTo>
                  <a:cubicBezTo>
                    <a:pt x="891" y="86"/>
                    <a:pt x="881" y="198"/>
                    <a:pt x="874" y="198"/>
                  </a:cubicBezTo>
                  <a:cubicBezTo>
                    <a:pt x="861" y="198"/>
                    <a:pt x="877" y="72"/>
                    <a:pt x="830" y="72"/>
                  </a:cubicBezTo>
                  <a:cubicBezTo>
                    <a:pt x="805" y="72"/>
                    <a:pt x="795" y="114"/>
                    <a:pt x="785" y="161"/>
                  </a:cubicBezTo>
                  <a:cubicBezTo>
                    <a:pt x="784" y="170"/>
                    <a:pt x="782" y="171"/>
                    <a:pt x="781" y="160"/>
                  </a:cubicBezTo>
                  <a:cubicBezTo>
                    <a:pt x="781" y="152"/>
                    <a:pt x="781" y="142"/>
                    <a:pt x="781" y="134"/>
                  </a:cubicBezTo>
                  <a:cubicBezTo>
                    <a:pt x="793" y="86"/>
                    <a:pt x="778" y="69"/>
                    <a:pt x="756" y="81"/>
                  </a:cubicBezTo>
                  <a:cubicBezTo>
                    <a:pt x="763" y="169"/>
                    <a:pt x="723" y="212"/>
                    <a:pt x="692" y="212"/>
                  </a:cubicBezTo>
                  <a:cubicBezTo>
                    <a:pt x="681" y="212"/>
                    <a:pt x="672" y="207"/>
                    <a:pt x="666" y="200"/>
                  </a:cubicBezTo>
                  <a:cubicBezTo>
                    <a:pt x="703" y="177"/>
                    <a:pt x="719" y="151"/>
                    <a:pt x="719" y="126"/>
                  </a:cubicBezTo>
                  <a:cubicBezTo>
                    <a:pt x="719" y="98"/>
                    <a:pt x="704" y="82"/>
                    <a:pt x="677" y="82"/>
                  </a:cubicBezTo>
                  <a:cubicBezTo>
                    <a:pt x="640" y="82"/>
                    <a:pt x="620" y="120"/>
                    <a:pt x="620" y="152"/>
                  </a:cubicBezTo>
                  <a:cubicBezTo>
                    <a:pt x="620" y="169"/>
                    <a:pt x="623" y="184"/>
                    <a:pt x="628" y="196"/>
                  </a:cubicBezTo>
                  <a:cubicBezTo>
                    <a:pt x="616" y="202"/>
                    <a:pt x="604" y="207"/>
                    <a:pt x="593" y="212"/>
                  </a:cubicBezTo>
                  <a:cubicBezTo>
                    <a:pt x="592" y="179"/>
                    <a:pt x="588" y="145"/>
                    <a:pt x="585" y="113"/>
                  </a:cubicBezTo>
                  <a:cubicBezTo>
                    <a:pt x="566" y="107"/>
                    <a:pt x="560" y="117"/>
                    <a:pt x="559" y="134"/>
                  </a:cubicBezTo>
                  <a:cubicBezTo>
                    <a:pt x="555" y="174"/>
                    <a:pt x="540" y="198"/>
                    <a:pt x="527" y="198"/>
                  </a:cubicBezTo>
                  <a:cubicBezTo>
                    <a:pt x="518" y="198"/>
                    <a:pt x="512" y="186"/>
                    <a:pt x="511" y="174"/>
                  </a:cubicBezTo>
                  <a:cubicBezTo>
                    <a:pt x="507" y="110"/>
                    <a:pt x="559" y="92"/>
                    <a:pt x="586" y="102"/>
                  </a:cubicBezTo>
                  <a:cubicBezTo>
                    <a:pt x="592" y="88"/>
                    <a:pt x="585" y="77"/>
                    <a:pt x="561" y="77"/>
                  </a:cubicBezTo>
                  <a:cubicBezTo>
                    <a:pt x="531" y="77"/>
                    <a:pt x="509" y="95"/>
                    <a:pt x="493" y="118"/>
                  </a:cubicBezTo>
                  <a:cubicBezTo>
                    <a:pt x="482" y="134"/>
                    <a:pt x="470" y="145"/>
                    <a:pt x="453" y="158"/>
                  </a:cubicBezTo>
                  <a:cubicBezTo>
                    <a:pt x="454" y="154"/>
                    <a:pt x="454" y="150"/>
                    <a:pt x="454" y="147"/>
                  </a:cubicBezTo>
                  <a:cubicBezTo>
                    <a:pt x="454" y="102"/>
                    <a:pt x="430" y="82"/>
                    <a:pt x="406" y="82"/>
                  </a:cubicBezTo>
                  <a:cubicBezTo>
                    <a:pt x="387" y="82"/>
                    <a:pt x="375" y="94"/>
                    <a:pt x="368" y="111"/>
                  </a:cubicBezTo>
                  <a:cubicBezTo>
                    <a:pt x="366" y="94"/>
                    <a:pt x="363" y="86"/>
                    <a:pt x="353" y="86"/>
                  </a:cubicBezTo>
                  <a:cubicBezTo>
                    <a:pt x="348" y="86"/>
                    <a:pt x="342" y="87"/>
                    <a:pt x="335" y="90"/>
                  </a:cubicBezTo>
                  <a:cubicBezTo>
                    <a:pt x="338" y="100"/>
                    <a:pt x="340" y="122"/>
                    <a:pt x="340" y="137"/>
                  </a:cubicBezTo>
                  <a:cubicBezTo>
                    <a:pt x="340" y="191"/>
                    <a:pt x="324" y="215"/>
                    <a:pt x="309" y="215"/>
                  </a:cubicBezTo>
                  <a:cubicBezTo>
                    <a:pt x="292" y="215"/>
                    <a:pt x="290" y="151"/>
                    <a:pt x="288" y="126"/>
                  </a:cubicBezTo>
                  <a:cubicBezTo>
                    <a:pt x="286" y="125"/>
                    <a:pt x="284" y="124"/>
                    <a:pt x="280" y="124"/>
                  </a:cubicBezTo>
                  <a:cubicBezTo>
                    <a:pt x="264" y="124"/>
                    <a:pt x="262" y="145"/>
                    <a:pt x="259" y="164"/>
                  </a:cubicBezTo>
                  <a:cubicBezTo>
                    <a:pt x="254" y="185"/>
                    <a:pt x="242" y="211"/>
                    <a:pt x="224" y="211"/>
                  </a:cubicBezTo>
                  <a:cubicBezTo>
                    <a:pt x="214" y="211"/>
                    <a:pt x="207" y="201"/>
                    <a:pt x="206" y="182"/>
                  </a:cubicBezTo>
                  <a:cubicBezTo>
                    <a:pt x="204" y="144"/>
                    <a:pt x="236" y="99"/>
                    <a:pt x="286" y="113"/>
                  </a:cubicBezTo>
                  <a:cubicBezTo>
                    <a:pt x="292" y="98"/>
                    <a:pt x="282" y="86"/>
                    <a:pt x="261" y="86"/>
                  </a:cubicBezTo>
                  <a:cubicBezTo>
                    <a:pt x="225" y="86"/>
                    <a:pt x="195" y="113"/>
                    <a:pt x="182" y="145"/>
                  </a:cubicBezTo>
                  <a:cubicBezTo>
                    <a:pt x="169" y="175"/>
                    <a:pt x="145" y="218"/>
                    <a:pt x="98" y="218"/>
                  </a:cubicBezTo>
                  <a:cubicBezTo>
                    <a:pt x="65" y="218"/>
                    <a:pt x="39" y="189"/>
                    <a:pt x="39" y="128"/>
                  </a:cubicBezTo>
                  <a:cubicBezTo>
                    <a:pt x="39" y="75"/>
                    <a:pt x="72" y="25"/>
                    <a:pt x="108" y="25"/>
                  </a:cubicBezTo>
                  <a:cubicBezTo>
                    <a:pt x="132" y="25"/>
                    <a:pt x="138" y="50"/>
                    <a:pt x="136" y="72"/>
                  </a:cubicBezTo>
                  <a:cubicBezTo>
                    <a:pt x="149" y="83"/>
                    <a:pt x="170" y="73"/>
                    <a:pt x="170" y="47"/>
                  </a:cubicBezTo>
                  <a:cubicBezTo>
                    <a:pt x="170" y="30"/>
                    <a:pt x="156" y="0"/>
                    <a:pt x="109" y="0"/>
                  </a:cubicBezTo>
                  <a:cubicBezTo>
                    <a:pt x="51" y="0"/>
                    <a:pt x="0" y="57"/>
                    <a:pt x="0" y="132"/>
                  </a:cubicBezTo>
                  <a:cubicBezTo>
                    <a:pt x="0" y="206"/>
                    <a:pt x="38" y="249"/>
                    <a:pt x="90" y="249"/>
                  </a:cubicBezTo>
                  <a:cubicBezTo>
                    <a:pt x="123" y="249"/>
                    <a:pt x="154" y="230"/>
                    <a:pt x="176" y="195"/>
                  </a:cubicBezTo>
                  <a:cubicBezTo>
                    <a:pt x="181" y="226"/>
                    <a:pt x="202" y="238"/>
                    <a:pt x="218" y="238"/>
                  </a:cubicBezTo>
                  <a:cubicBezTo>
                    <a:pt x="243" y="238"/>
                    <a:pt x="260" y="222"/>
                    <a:pt x="269" y="200"/>
                  </a:cubicBezTo>
                  <a:cubicBezTo>
                    <a:pt x="274" y="222"/>
                    <a:pt x="286" y="238"/>
                    <a:pt x="306" y="238"/>
                  </a:cubicBezTo>
                  <a:cubicBezTo>
                    <a:pt x="320" y="238"/>
                    <a:pt x="330" y="231"/>
                    <a:pt x="339" y="220"/>
                  </a:cubicBezTo>
                  <a:cubicBezTo>
                    <a:pt x="335" y="297"/>
                    <a:pt x="331" y="346"/>
                    <a:pt x="377" y="337"/>
                  </a:cubicBezTo>
                  <a:cubicBezTo>
                    <a:pt x="370" y="315"/>
                    <a:pt x="368" y="275"/>
                    <a:pt x="368" y="239"/>
                  </a:cubicBezTo>
                  <a:cubicBezTo>
                    <a:pt x="368" y="141"/>
                    <a:pt x="384" y="109"/>
                    <a:pt x="404" y="109"/>
                  </a:cubicBezTo>
                  <a:cubicBezTo>
                    <a:pt x="419" y="109"/>
                    <a:pt x="423" y="128"/>
                    <a:pt x="423" y="148"/>
                  </a:cubicBezTo>
                  <a:cubicBezTo>
                    <a:pt x="423" y="158"/>
                    <a:pt x="422" y="170"/>
                    <a:pt x="420" y="182"/>
                  </a:cubicBezTo>
                  <a:cubicBezTo>
                    <a:pt x="395" y="197"/>
                    <a:pt x="375" y="210"/>
                    <a:pt x="375" y="225"/>
                  </a:cubicBezTo>
                  <a:cubicBezTo>
                    <a:pt x="375" y="238"/>
                    <a:pt x="384" y="239"/>
                    <a:pt x="392" y="239"/>
                  </a:cubicBezTo>
                  <a:cubicBezTo>
                    <a:pt x="411" y="239"/>
                    <a:pt x="434" y="220"/>
                    <a:pt x="447" y="185"/>
                  </a:cubicBezTo>
                  <a:cubicBezTo>
                    <a:pt x="458" y="178"/>
                    <a:pt x="469" y="170"/>
                    <a:pt x="480" y="160"/>
                  </a:cubicBezTo>
                  <a:cubicBezTo>
                    <a:pt x="480" y="164"/>
                    <a:pt x="479" y="167"/>
                    <a:pt x="479" y="171"/>
                  </a:cubicBezTo>
                  <a:cubicBezTo>
                    <a:pt x="479" y="206"/>
                    <a:pt x="495" y="227"/>
                    <a:pt x="519" y="227"/>
                  </a:cubicBezTo>
                  <a:cubicBezTo>
                    <a:pt x="538" y="227"/>
                    <a:pt x="553" y="214"/>
                    <a:pt x="563" y="193"/>
                  </a:cubicBezTo>
                  <a:cubicBezTo>
                    <a:pt x="564" y="205"/>
                    <a:pt x="564" y="216"/>
                    <a:pt x="564" y="226"/>
                  </a:cubicBezTo>
                  <a:cubicBezTo>
                    <a:pt x="525" y="244"/>
                    <a:pt x="482" y="262"/>
                    <a:pt x="482" y="313"/>
                  </a:cubicBezTo>
                  <a:cubicBezTo>
                    <a:pt x="482" y="339"/>
                    <a:pt x="501" y="359"/>
                    <a:pt x="526" y="359"/>
                  </a:cubicBezTo>
                  <a:cubicBezTo>
                    <a:pt x="580" y="359"/>
                    <a:pt x="593" y="302"/>
                    <a:pt x="593" y="235"/>
                  </a:cubicBezTo>
                  <a:cubicBezTo>
                    <a:pt x="611" y="227"/>
                    <a:pt x="624" y="222"/>
                    <a:pt x="639" y="214"/>
                  </a:cubicBezTo>
                  <a:cubicBezTo>
                    <a:pt x="652" y="230"/>
                    <a:pt x="670" y="238"/>
                    <a:pt x="686" y="238"/>
                  </a:cubicBezTo>
                  <a:cubicBezTo>
                    <a:pt x="717" y="238"/>
                    <a:pt x="740" y="222"/>
                    <a:pt x="758" y="189"/>
                  </a:cubicBezTo>
                  <a:cubicBezTo>
                    <a:pt x="762" y="214"/>
                    <a:pt x="768" y="238"/>
                    <a:pt x="781" y="238"/>
                  </a:cubicBezTo>
                  <a:cubicBezTo>
                    <a:pt x="806" y="238"/>
                    <a:pt x="811" y="111"/>
                    <a:pt x="829" y="111"/>
                  </a:cubicBezTo>
                  <a:cubicBezTo>
                    <a:pt x="843" y="111"/>
                    <a:pt x="831" y="249"/>
                    <a:pt x="868" y="249"/>
                  </a:cubicBezTo>
                  <a:cubicBezTo>
                    <a:pt x="899" y="249"/>
                    <a:pt x="905" y="128"/>
                    <a:pt x="920" y="128"/>
                  </a:cubicBezTo>
                  <a:cubicBezTo>
                    <a:pt x="931" y="128"/>
                    <a:pt x="932" y="238"/>
                    <a:pt x="966" y="238"/>
                  </a:cubicBezTo>
                  <a:cubicBezTo>
                    <a:pt x="983" y="238"/>
                    <a:pt x="1001" y="218"/>
                    <a:pt x="1010" y="176"/>
                  </a:cubicBezTo>
                  <a:cubicBezTo>
                    <a:pt x="1014" y="204"/>
                    <a:pt x="1028" y="238"/>
                    <a:pt x="1056" y="238"/>
                  </a:cubicBezTo>
                  <a:cubicBezTo>
                    <a:pt x="1072" y="238"/>
                    <a:pt x="1086" y="222"/>
                    <a:pt x="1097" y="200"/>
                  </a:cubicBezTo>
                  <a:cubicBezTo>
                    <a:pt x="1100" y="223"/>
                    <a:pt x="1106" y="238"/>
                    <a:pt x="1118" y="238"/>
                  </a:cubicBezTo>
                  <a:cubicBezTo>
                    <a:pt x="1150" y="238"/>
                    <a:pt x="1149" y="112"/>
                    <a:pt x="1174" y="112"/>
                  </a:cubicBezTo>
                  <a:cubicBezTo>
                    <a:pt x="1194" y="112"/>
                    <a:pt x="1188" y="238"/>
                    <a:pt x="1235" y="238"/>
                  </a:cubicBezTo>
                  <a:cubicBezTo>
                    <a:pt x="1257" y="238"/>
                    <a:pt x="1268" y="220"/>
                    <a:pt x="1274" y="196"/>
                  </a:cubicBezTo>
                  <a:cubicBezTo>
                    <a:pt x="1283" y="231"/>
                    <a:pt x="1297" y="238"/>
                    <a:pt x="1308" y="238"/>
                  </a:cubicBezTo>
                  <a:cubicBezTo>
                    <a:pt x="1315" y="238"/>
                    <a:pt x="1321" y="236"/>
                    <a:pt x="1328" y="227"/>
                  </a:cubicBezTo>
                  <a:cubicBezTo>
                    <a:pt x="1292" y="212"/>
                    <a:pt x="1295" y="155"/>
                    <a:pt x="1295" y="118"/>
                  </a:cubicBezTo>
                  <a:moveTo>
                    <a:pt x="528" y="335"/>
                  </a:moveTo>
                  <a:cubicBezTo>
                    <a:pt x="517" y="335"/>
                    <a:pt x="511" y="325"/>
                    <a:pt x="511" y="313"/>
                  </a:cubicBezTo>
                  <a:cubicBezTo>
                    <a:pt x="511" y="280"/>
                    <a:pt x="535" y="263"/>
                    <a:pt x="564" y="248"/>
                  </a:cubicBezTo>
                  <a:cubicBezTo>
                    <a:pt x="563" y="319"/>
                    <a:pt x="546" y="335"/>
                    <a:pt x="528" y="335"/>
                  </a:cubicBezTo>
                  <a:moveTo>
                    <a:pt x="674" y="105"/>
                  </a:moveTo>
                  <a:cubicBezTo>
                    <a:pt x="685" y="105"/>
                    <a:pt x="692" y="115"/>
                    <a:pt x="691" y="129"/>
                  </a:cubicBezTo>
                  <a:cubicBezTo>
                    <a:pt x="689" y="146"/>
                    <a:pt x="677" y="166"/>
                    <a:pt x="655" y="181"/>
                  </a:cubicBezTo>
                  <a:cubicBezTo>
                    <a:pt x="644" y="149"/>
                    <a:pt x="653" y="105"/>
                    <a:pt x="674" y="105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0" name="Freeform 13"/>
            <p:cNvSpPr>
              <a:spLocks/>
            </p:cNvSpPr>
            <p:nvPr userDrawn="1"/>
          </p:nvSpPr>
          <p:spPr bwMode="auto">
            <a:xfrm>
              <a:off x="4013200" y="4541838"/>
              <a:ext cx="120650" cy="127000"/>
            </a:xfrm>
            <a:custGeom>
              <a:avLst/>
              <a:gdLst/>
              <a:ahLst/>
              <a:cxnLst>
                <a:cxn ang="0">
                  <a:pos x="19" y="39"/>
                </a:cxn>
                <a:cxn ang="0">
                  <a:pos x="37" y="19"/>
                </a:cxn>
                <a:cxn ang="0">
                  <a:pos x="19" y="0"/>
                </a:cxn>
                <a:cxn ang="0">
                  <a:pos x="0" y="20"/>
                </a:cxn>
                <a:cxn ang="0">
                  <a:pos x="19" y="39"/>
                </a:cxn>
              </a:cxnLst>
              <a:rect l="0" t="0" r="r" b="b"/>
              <a:pathLst>
                <a:path w="37" h="39">
                  <a:moveTo>
                    <a:pt x="19" y="39"/>
                  </a:moveTo>
                  <a:cubicBezTo>
                    <a:pt x="30" y="38"/>
                    <a:pt x="37" y="29"/>
                    <a:pt x="37" y="19"/>
                  </a:cubicBezTo>
                  <a:cubicBezTo>
                    <a:pt x="37" y="8"/>
                    <a:pt x="30" y="0"/>
                    <a:pt x="19" y="0"/>
                  </a:cubicBezTo>
                  <a:cubicBezTo>
                    <a:pt x="9" y="1"/>
                    <a:pt x="0" y="9"/>
                    <a:pt x="0" y="20"/>
                  </a:cubicBezTo>
                  <a:cubicBezTo>
                    <a:pt x="0" y="31"/>
                    <a:pt x="9" y="39"/>
                    <a:pt x="19" y="39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1" name="Freeform 14"/>
            <p:cNvSpPr>
              <a:spLocks/>
            </p:cNvSpPr>
            <p:nvPr userDrawn="1"/>
          </p:nvSpPr>
          <p:spPr bwMode="auto">
            <a:xfrm>
              <a:off x="4870450" y="4564063"/>
              <a:ext cx="112713" cy="125413"/>
            </a:xfrm>
            <a:custGeom>
              <a:avLst/>
              <a:gdLst/>
              <a:ahLst/>
              <a:cxnLst>
                <a:cxn ang="0">
                  <a:pos x="17" y="37"/>
                </a:cxn>
                <a:cxn ang="0">
                  <a:pos x="34" y="18"/>
                </a:cxn>
                <a:cxn ang="0">
                  <a:pos x="17" y="0"/>
                </a:cxn>
                <a:cxn ang="0">
                  <a:pos x="0" y="19"/>
                </a:cxn>
                <a:cxn ang="0">
                  <a:pos x="17" y="37"/>
                </a:cxn>
              </a:cxnLst>
              <a:rect l="0" t="0" r="r" b="b"/>
              <a:pathLst>
                <a:path w="34" h="38">
                  <a:moveTo>
                    <a:pt x="17" y="37"/>
                  </a:moveTo>
                  <a:cubicBezTo>
                    <a:pt x="26" y="37"/>
                    <a:pt x="34" y="28"/>
                    <a:pt x="34" y="18"/>
                  </a:cubicBezTo>
                  <a:cubicBezTo>
                    <a:pt x="34" y="8"/>
                    <a:pt x="26" y="0"/>
                    <a:pt x="17" y="0"/>
                  </a:cubicBezTo>
                  <a:cubicBezTo>
                    <a:pt x="7" y="1"/>
                    <a:pt x="0" y="9"/>
                    <a:pt x="0" y="19"/>
                  </a:cubicBezTo>
                  <a:cubicBezTo>
                    <a:pt x="0" y="30"/>
                    <a:pt x="7" y="38"/>
                    <a:pt x="17" y="37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2" name="Freeform 15"/>
            <p:cNvSpPr>
              <a:spLocks/>
            </p:cNvSpPr>
            <p:nvPr userDrawn="1"/>
          </p:nvSpPr>
          <p:spPr bwMode="auto">
            <a:xfrm>
              <a:off x="5143500" y="4465638"/>
              <a:ext cx="939800" cy="796925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0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8" y="210"/>
                </a:cxn>
                <a:cxn ang="0">
                  <a:pos x="240" y="111"/>
                </a:cxn>
                <a:cxn ang="0">
                  <a:pos x="287" y="154"/>
                </a:cxn>
                <a:cxn ang="0">
                  <a:pos x="286" y="152"/>
                </a:cxn>
              </a:cxnLst>
              <a:rect l="0" t="0" r="r" b="b"/>
              <a:pathLst>
                <a:path w="287" h="243">
                  <a:moveTo>
                    <a:pt x="286" y="152"/>
                  </a:moveTo>
                  <a:cubicBezTo>
                    <a:pt x="286" y="111"/>
                    <a:pt x="267" y="77"/>
                    <a:pt x="237" y="50"/>
                  </a:cubicBezTo>
                  <a:cubicBezTo>
                    <a:pt x="215" y="30"/>
                    <a:pt x="188" y="14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3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7" y="222"/>
                    <a:pt x="148" y="210"/>
                  </a:cubicBezTo>
                  <a:cubicBezTo>
                    <a:pt x="182" y="171"/>
                    <a:pt x="197" y="111"/>
                    <a:pt x="240" y="111"/>
                  </a:cubicBezTo>
                  <a:cubicBezTo>
                    <a:pt x="279" y="111"/>
                    <a:pt x="284" y="139"/>
                    <a:pt x="287" y="154"/>
                  </a:cubicBezTo>
                  <a:cubicBezTo>
                    <a:pt x="287" y="154"/>
                    <a:pt x="287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1468725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57">
          <p15:clr>
            <a:srgbClr val="FBAE40"/>
          </p15:clr>
        </p15:guide>
        <p15:guide id="2" orient="horz" pos="935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8" y="1815352"/>
            <a:ext cx="11700000" cy="4466201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4423043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8" y="1815351"/>
            <a:ext cx="11700000" cy="4466201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227349" y="1148607"/>
            <a:ext cx="11700000" cy="50405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</p:spTree>
    <p:extLst>
      <p:ext uri="{BB962C8B-B14F-4D97-AF65-F5344CB8AC3E}">
        <p14:creationId xmlns:p14="http://schemas.microsoft.com/office/powerpoint/2010/main" val="394087393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=""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349" y="2205319"/>
            <a:ext cx="5400000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/>
            </a:lvl1pPr>
            <a:lvl2pPr>
              <a:lnSpc>
                <a:spcPct val="100000"/>
              </a:lnSpc>
              <a:spcBef>
                <a:spcPts val="0"/>
              </a:spcBef>
              <a:defRPr sz="1600"/>
            </a:lvl2pPr>
            <a:lvl3pPr>
              <a:lnSpc>
                <a:spcPct val="100000"/>
              </a:lnSpc>
              <a:spcBef>
                <a:spcPts val="0"/>
              </a:spcBef>
              <a:defRPr sz="1600"/>
            </a:lvl3pPr>
            <a:lvl4pPr>
              <a:lnSpc>
                <a:spcPct val="100000"/>
              </a:lnSpc>
              <a:spcBef>
                <a:spcPts val="0"/>
              </a:spcBef>
              <a:defRPr sz="1600"/>
            </a:lvl4pPr>
            <a:lvl5pPr>
              <a:lnSpc>
                <a:spcPct val="100000"/>
              </a:lnSpc>
              <a:spcBef>
                <a:spcPts val="0"/>
              </a:spcBef>
              <a:defRPr sz="16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3" name="Text Placeholder 7">
            <a:extLst>
              <a:ext uri="{FF2B5EF4-FFF2-40B4-BE49-F238E27FC236}">
                <a16:creationId xmlns=""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27349" y="1420989"/>
            <a:ext cx="5400000" cy="743987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800" b="1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="" xmlns:a16="http://schemas.microsoft.com/office/drawing/2014/main" id="{47BDC0DA-1585-454D-9E74-41D2AFC0FEE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4016" y="1420989"/>
            <a:ext cx="5400000" cy="743987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800" b="1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6" name="Text Placeholder 7">
            <a:extLst>
              <a:ext uri="{FF2B5EF4-FFF2-40B4-BE49-F238E27FC236}">
                <a16:creationId xmlns=""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74016" y="2205319"/>
            <a:ext cx="5400000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/>
            </a:lvl1pPr>
            <a:lvl2pPr>
              <a:lnSpc>
                <a:spcPct val="100000"/>
              </a:lnSpc>
              <a:spcBef>
                <a:spcPts val="0"/>
              </a:spcBef>
              <a:defRPr sz="1600"/>
            </a:lvl2pPr>
            <a:lvl3pPr>
              <a:lnSpc>
                <a:spcPct val="100000"/>
              </a:lnSpc>
              <a:spcBef>
                <a:spcPts val="0"/>
              </a:spcBef>
              <a:defRPr sz="1600"/>
            </a:lvl3pPr>
            <a:lvl4pPr>
              <a:lnSpc>
                <a:spcPct val="100000"/>
              </a:lnSpc>
              <a:spcBef>
                <a:spcPts val="0"/>
              </a:spcBef>
              <a:defRPr sz="1600"/>
            </a:lvl4pPr>
            <a:lvl5pPr>
              <a:lnSpc>
                <a:spcPct val="100000"/>
              </a:lnSpc>
              <a:spcBef>
                <a:spcPts val="0"/>
              </a:spcBef>
              <a:defRPr sz="16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7535767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Text Placeholder 7">
            <a:extLst>
              <a:ext uri="{FF2B5EF4-FFF2-40B4-BE49-F238E27FC236}">
                <a16:creationId xmlns=""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350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7">
            <a:extLst>
              <a:ext uri="{FF2B5EF4-FFF2-40B4-BE49-F238E27FC236}">
                <a16:creationId xmlns=""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27350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=""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313358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0" name="Text Placeholder 7">
            <a:extLst>
              <a:ext uri="{FF2B5EF4-FFF2-40B4-BE49-F238E27FC236}">
                <a16:creationId xmlns=""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13358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=""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384125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Text Placeholder 7">
            <a:extLst>
              <a:ext uri="{FF2B5EF4-FFF2-40B4-BE49-F238E27FC236}">
                <a16:creationId xmlns=""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384125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</p:spTree>
    <p:extLst>
      <p:ext uri="{BB962C8B-B14F-4D97-AF65-F5344CB8AC3E}">
        <p14:creationId xmlns:p14="http://schemas.microsoft.com/office/powerpoint/2010/main" val="119674897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2DC1286-507C-409B-B048-0E432650970D}" type="datetimeFigureOut">
              <a:rPr lang="en-US" smtClean="0"/>
              <a:t>7/18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62C01D-CEAC-4D78-83F0-C959E482489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541713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numbering, 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/>
          <p:cNvSpPr/>
          <p:nvPr userDrawn="1"/>
        </p:nvSpPr>
        <p:spPr>
          <a:xfrm>
            <a:off x="0" y="0"/>
            <a:ext cx="919998" cy="42862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rgbClr val="FFFFFF"/>
              </a:solidFill>
            </a:endParaRPr>
          </a:p>
        </p:txBody>
      </p:sp>
      <p:sp>
        <p:nvSpPr>
          <p:cNvPr id="21510" name="Freeform 6"/>
          <p:cNvSpPr>
            <a:spLocks/>
          </p:cNvSpPr>
          <p:nvPr userDrawn="1"/>
        </p:nvSpPr>
        <p:spPr bwMode="auto">
          <a:xfrm>
            <a:off x="0" y="0"/>
            <a:ext cx="919998" cy="1146174"/>
          </a:xfrm>
          <a:custGeom>
            <a:avLst/>
            <a:gdLst/>
            <a:ahLst/>
            <a:cxnLst>
              <a:cxn ang="0">
                <a:pos x="1681" y="25"/>
              </a:cxn>
              <a:cxn ang="0">
                <a:pos x="1655" y="0"/>
              </a:cxn>
              <a:cxn ang="0">
                <a:pos x="22" y="0"/>
              </a:cxn>
              <a:cxn ang="0">
                <a:pos x="0" y="23"/>
              </a:cxn>
              <a:cxn ang="0">
                <a:pos x="0" y="2095"/>
              </a:cxn>
              <a:cxn ang="0">
                <a:pos x="336" y="2085"/>
              </a:cxn>
              <a:cxn ang="0">
                <a:pos x="682" y="2056"/>
              </a:cxn>
              <a:cxn ang="0">
                <a:pos x="897" y="2032"/>
              </a:cxn>
              <a:cxn ang="0">
                <a:pos x="1082" y="2005"/>
              </a:cxn>
              <a:cxn ang="0">
                <a:pos x="1332" y="1960"/>
              </a:cxn>
              <a:cxn ang="0">
                <a:pos x="1567" y="1911"/>
              </a:cxn>
              <a:cxn ang="0">
                <a:pos x="1680" y="1883"/>
              </a:cxn>
              <a:cxn ang="0">
                <a:pos x="1681" y="25"/>
              </a:cxn>
            </a:cxnLst>
            <a:rect l="0" t="0" r="r" b="b"/>
            <a:pathLst>
              <a:path w="1681" h="2095">
                <a:moveTo>
                  <a:pt x="1681" y="25"/>
                </a:moveTo>
                <a:cubicBezTo>
                  <a:pt x="1681" y="3"/>
                  <a:pt x="1675" y="0"/>
                  <a:pt x="1655" y="0"/>
                </a:cubicBezTo>
                <a:cubicBezTo>
                  <a:pt x="1111" y="1"/>
                  <a:pt x="567" y="1"/>
                  <a:pt x="22" y="0"/>
                </a:cubicBezTo>
                <a:cubicBezTo>
                  <a:pt x="5" y="0"/>
                  <a:pt x="0" y="3"/>
                  <a:pt x="0" y="23"/>
                </a:cubicBezTo>
                <a:cubicBezTo>
                  <a:pt x="0" y="713"/>
                  <a:pt x="0" y="1404"/>
                  <a:pt x="0" y="2095"/>
                </a:cubicBezTo>
                <a:cubicBezTo>
                  <a:pt x="112" y="2091"/>
                  <a:pt x="224" y="2088"/>
                  <a:pt x="336" y="2085"/>
                </a:cubicBezTo>
                <a:cubicBezTo>
                  <a:pt x="452" y="2081"/>
                  <a:pt x="567" y="2068"/>
                  <a:pt x="682" y="2056"/>
                </a:cubicBezTo>
                <a:cubicBezTo>
                  <a:pt x="754" y="2049"/>
                  <a:pt x="826" y="2045"/>
                  <a:pt x="897" y="2032"/>
                </a:cubicBezTo>
                <a:cubicBezTo>
                  <a:pt x="958" y="2020"/>
                  <a:pt x="1021" y="2018"/>
                  <a:pt x="1082" y="2005"/>
                </a:cubicBezTo>
                <a:cubicBezTo>
                  <a:pt x="1165" y="1989"/>
                  <a:pt x="1249" y="1977"/>
                  <a:pt x="1332" y="1960"/>
                </a:cubicBezTo>
                <a:cubicBezTo>
                  <a:pt x="1410" y="1945"/>
                  <a:pt x="1489" y="1928"/>
                  <a:pt x="1567" y="1911"/>
                </a:cubicBezTo>
                <a:cubicBezTo>
                  <a:pt x="1605" y="1904"/>
                  <a:pt x="1643" y="1895"/>
                  <a:pt x="1680" y="1883"/>
                </a:cubicBezTo>
                <a:cubicBezTo>
                  <a:pt x="1680" y="1263"/>
                  <a:pt x="1680" y="644"/>
                  <a:pt x="1681" y="25"/>
                </a:cubicBez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74872" y="0"/>
            <a:ext cx="10377711" cy="11049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7" y="1815351"/>
            <a:ext cx="11700000" cy="44676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974872" y="1148607"/>
            <a:ext cx="10940903" cy="50405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0" y="48742"/>
            <a:ext cx="914400" cy="914400"/>
          </a:xfrm>
        </p:spPr>
        <p:txBody>
          <a:bodyPr anchor="ctr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GB" sz="4000" kern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#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5347357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3383417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3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2284370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-Single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: Shape 11">
            <a:extLst>
              <a:ext uri="{FF2B5EF4-FFF2-40B4-BE49-F238E27FC236}">
                <a16:creationId xmlns="" xmlns:a16="http://schemas.microsoft.com/office/drawing/2014/main" id="{F5F5AEA1-6A77-4676-B8B3-EF658F5F8430}"/>
              </a:ext>
            </a:extLst>
          </p:cNvPr>
          <p:cNvSpPr/>
          <p:nvPr userDrawn="1"/>
        </p:nvSpPr>
        <p:spPr>
          <a:xfrm flipV="1">
            <a:off x="1" y="0"/>
            <a:ext cx="5204012" cy="3119718"/>
          </a:xfrm>
          <a:custGeom>
            <a:avLst/>
            <a:gdLst>
              <a:gd name="connsiteX0" fmla="*/ 2836724 w 6262141"/>
              <a:gd name="connsiteY0" fmla="*/ 775 h 4159686"/>
              <a:gd name="connsiteX1" fmla="*/ 3822188 w 6262141"/>
              <a:gd name="connsiteY1" fmla="*/ 22965 h 4159686"/>
              <a:gd name="connsiteX2" fmla="*/ 5982756 w 6262141"/>
              <a:gd name="connsiteY2" fmla="*/ 3706589 h 4159686"/>
              <a:gd name="connsiteX3" fmla="*/ 6262141 w 6262141"/>
              <a:gd name="connsiteY3" fmla="*/ 4159686 h 4159686"/>
              <a:gd name="connsiteX4" fmla="*/ 0 w 6262141"/>
              <a:gd name="connsiteY4" fmla="*/ 4159686 h 4159686"/>
              <a:gd name="connsiteX5" fmla="*/ 0 w 6262141"/>
              <a:gd name="connsiteY5" fmla="*/ 3700458 h 4159686"/>
              <a:gd name="connsiteX6" fmla="*/ 0 w 6262141"/>
              <a:gd name="connsiteY6" fmla="*/ 3329154 h 4159686"/>
              <a:gd name="connsiteX7" fmla="*/ 0 w 6262141"/>
              <a:gd name="connsiteY7" fmla="*/ 2944589 h 4159686"/>
              <a:gd name="connsiteX8" fmla="*/ 0 w 6262141"/>
              <a:gd name="connsiteY8" fmla="*/ 2546533 h 4159686"/>
              <a:gd name="connsiteX9" fmla="*/ 0 w 6262141"/>
              <a:gd name="connsiteY9" fmla="*/ 2134752 h 4159686"/>
              <a:gd name="connsiteX10" fmla="*/ 0 w 6262141"/>
              <a:gd name="connsiteY10" fmla="*/ 1709014 h 4159686"/>
              <a:gd name="connsiteX11" fmla="*/ 0 w 6262141"/>
              <a:gd name="connsiteY11" fmla="*/ 1269085 h 4159686"/>
              <a:gd name="connsiteX12" fmla="*/ 0 w 6262141"/>
              <a:gd name="connsiteY12" fmla="*/ 814735 h 4159686"/>
              <a:gd name="connsiteX13" fmla="*/ 0 w 6262141"/>
              <a:gd name="connsiteY13" fmla="*/ 345728 h 4159686"/>
              <a:gd name="connsiteX14" fmla="*/ 2836724 w 6262141"/>
              <a:gd name="connsiteY14" fmla="*/ 775 h 4159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6262141" h="4159686">
                <a:moveTo>
                  <a:pt x="2836724" y="775"/>
                </a:moveTo>
                <a:cubicBezTo>
                  <a:pt x="3163345" y="-2587"/>
                  <a:pt x="3492318" y="5034"/>
                  <a:pt x="3822188" y="22965"/>
                </a:cubicBezTo>
                <a:cubicBezTo>
                  <a:pt x="4104550" y="1058496"/>
                  <a:pt x="5095168" y="2317803"/>
                  <a:pt x="5982756" y="3706589"/>
                </a:cubicBezTo>
                <a:lnTo>
                  <a:pt x="6262141" y="4159686"/>
                </a:lnTo>
                <a:lnTo>
                  <a:pt x="0" y="4159686"/>
                </a:lnTo>
                <a:lnTo>
                  <a:pt x="0" y="3700458"/>
                </a:lnTo>
                <a:lnTo>
                  <a:pt x="0" y="3329154"/>
                </a:lnTo>
                <a:lnTo>
                  <a:pt x="0" y="2944589"/>
                </a:lnTo>
                <a:lnTo>
                  <a:pt x="0" y="2546533"/>
                </a:lnTo>
                <a:lnTo>
                  <a:pt x="0" y="2134752"/>
                </a:lnTo>
                <a:lnTo>
                  <a:pt x="0" y="1709014"/>
                </a:lnTo>
                <a:lnTo>
                  <a:pt x="0" y="1269085"/>
                </a:lnTo>
                <a:lnTo>
                  <a:pt x="0" y="814735"/>
                </a:lnTo>
                <a:lnTo>
                  <a:pt x="0" y="345728"/>
                </a:lnTo>
                <a:cubicBezTo>
                  <a:pt x="898178" y="119794"/>
                  <a:pt x="1856863" y="10862"/>
                  <a:pt x="2836724" y="775"/>
                </a:cubicBezTo>
                <a:close/>
              </a:path>
            </a:pathLst>
          </a:custGeom>
          <a:solidFill>
            <a:srgbClr val="12AB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dirty="0">
              <a:solidFill>
                <a:srgbClr val="FFFFFF"/>
              </a:solidFill>
            </a:endParaRPr>
          </a:p>
        </p:txBody>
      </p:sp>
      <p:sp>
        <p:nvSpPr>
          <p:cNvPr id="26" name="Text Placeholder 4">
            <a:extLst>
              <a:ext uri="{FF2B5EF4-FFF2-40B4-BE49-F238E27FC236}">
                <a16:creationId xmlns="" xmlns:a16="http://schemas.microsoft.com/office/drawing/2014/main" id="{7E551D69-F21D-4601-B4BD-97ECB52F39D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83129" y="5278426"/>
            <a:ext cx="3296647" cy="331986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600" b="1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Insert education </a:t>
            </a:r>
          </a:p>
        </p:txBody>
      </p:sp>
      <p:sp>
        <p:nvSpPr>
          <p:cNvPr id="23" name="Text Placeholder 4">
            <a:extLst>
              <a:ext uri="{FF2B5EF4-FFF2-40B4-BE49-F238E27FC236}">
                <a16:creationId xmlns="" xmlns:a16="http://schemas.microsoft.com/office/drawing/2014/main" id="{BC359575-5CC3-4B2F-91E7-19D6A150BE7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83129" y="3916350"/>
            <a:ext cx="3296647" cy="412363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2000" b="1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Insert Name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="" xmlns:a16="http://schemas.microsoft.com/office/drawing/2014/main" id="{53745724-67BB-4475-9660-FEEE1226861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82081" y="4344097"/>
            <a:ext cx="3304144" cy="89484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27" name="Text Placeholder 7">
            <a:extLst>
              <a:ext uri="{FF2B5EF4-FFF2-40B4-BE49-F238E27FC236}">
                <a16:creationId xmlns="" xmlns:a16="http://schemas.microsoft.com/office/drawing/2014/main" id="{C78431F2-3F85-4748-A6BC-A08250A6D35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82081" y="5601397"/>
            <a:ext cx="3297695" cy="71386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13" name="Oval 20">
            <a:extLst>
              <a:ext uri="{FF2B5EF4-FFF2-40B4-BE49-F238E27FC236}">
                <a16:creationId xmlns="" xmlns:a16="http://schemas.microsoft.com/office/drawing/2014/main" id="{1EFB3510-D39A-47CF-8191-109DDF9E53D5}"/>
              </a:ext>
            </a:extLst>
          </p:cNvPr>
          <p:cNvSpPr/>
          <p:nvPr userDrawn="1"/>
        </p:nvSpPr>
        <p:spPr>
          <a:xfrm>
            <a:off x="1381192" y="1147034"/>
            <a:ext cx="2609222" cy="2465696"/>
          </a:xfrm>
          <a:custGeom>
            <a:avLst/>
            <a:gdLst>
              <a:gd name="connsiteX0" fmla="*/ 0 w 3314251"/>
              <a:gd name="connsiteY0" fmla="*/ 1564410 h 3128820"/>
              <a:gd name="connsiteX1" fmla="*/ 1657126 w 3314251"/>
              <a:gd name="connsiteY1" fmla="*/ 0 h 3128820"/>
              <a:gd name="connsiteX2" fmla="*/ 3314252 w 3314251"/>
              <a:gd name="connsiteY2" fmla="*/ 1564410 h 3128820"/>
              <a:gd name="connsiteX3" fmla="*/ 1657126 w 3314251"/>
              <a:gd name="connsiteY3" fmla="*/ 3128820 h 3128820"/>
              <a:gd name="connsiteX4" fmla="*/ 0 w 3314251"/>
              <a:gd name="connsiteY4" fmla="*/ 1564410 h 3128820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5821 h 3130231"/>
              <a:gd name="connsiteX1" fmla="*/ 1657126 w 3314252"/>
              <a:gd name="connsiteY1" fmla="*/ 1411 h 3130231"/>
              <a:gd name="connsiteX2" fmla="*/ 3314252 w 3314252"/>
              <a:gd name="connsiteY2" fmla="*/ 1565821 h 3130231"/>
              <a:gd name="connsiteX3" fmla="*/ 1657126 w 3314252"/>
              <a:gd name="connsiteY3" fmla="*/ 3130231 h 3130231"/>
              <a:gd name="connsiteX4" fmla="*/ 0 w 3314252"/>
              <a:gd name="connsiteY4" fmla="*/ 1565821 h 3130231"/>
              <a:gd name="connsiteX0" fmla="*/ 0 w 3314252"/>
              <a:gd name="connsiteY0" fmla="*/ 1567937 h 3132347"/>
              <a:gd name="connsiteX1" fmla="*/ 1657126 w 3314252"/>
              <a:gd name="connsiteY1" fmla="*/ 3527 h 3132347"/>
              <a:gd name="connsiteX2" fmla="*/ 3314252 w 3314252"/>
              <a:gd name="connsiteY2" fmla="*/ 1567937 h 3132347"/>
              <a:gd name="connsiteX3" fmla="*/ 1657126 w 3314252"/>
              <a:gd name="connsiteY3" fmla="*/ 3132347 h 3132347"/>
              <a:gd name="connsiteX4" fmla="*/ 0 w 3314252"/>
              <a:gd name="connsiteY4" fmla="*/ 1567937 h 3132347"/>
              <a:gd name="connsiteX0" fmla="*/ 0 w 3314252"/>
              <a:gd name="connsiteY0" fmla="*/ 1564505 h 3128915"/>
              <a:gd name="connsiteX1" fmla="*/ 1657126 w 3314252"/>
              <a:gd name="connsiteY1" fmla="*/ 95 h 3128915"/>
              <a:gd name="connsiteX2" fmla="*/ 3314252 w 3314252"/>
              <a:gd name="connsiteY2" fmla="*/ 1564505 h 3128915"/>
              <a:gd name="connsiteX3" fmla="*/ 1657126 w 3314252"/>
              <a:gd name="connsiteY3" fmla="*/ 3128915 h 3128915"/>
              <a:gd name="connsiteX4" fmla="*/ 0 w 3314252"/>
              <a:gd name="connsiteY4" fmla="*/ 1564505 h 3128915"/>
              <a:gd name="connsiteX0" fmla="*/ 0 w 3314252"/>
              <a:gd name="connsiteY0" fmla="*/ 1565503 h 3129913"/>
              <a:gd name="connsiteX1" fmla="*/ 1657126 w 3314252"/>
              <a:gd name="connsiteY1" fmla="*/ 1093 h 3129913"/>
              <a:gd name="connsiteX2" fmla="*/ 3314252 w 3314252"/>
              <a:gd name="connsiteY2" fmla="*/ 1565503 h 3129913"/>
              <a:gd name="connsiteX3" fmla="*/ 1657126 w 3314252"/>
              <a:gd name="connsiteY3" fmla="*/ 3129913 h 3129913"/>
              <a:gd name="connsiteX4" fmla="*/ 0 w 3314252"/>
              <a:gd name="connsiteY4" fmla="*/ 1565503 h 3129913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4433 h 3128843"/>
              <a:gd name="connsiteX1" fmla="*/ 1657126 w 3314252"/>
              <a:gd name="connsiteY1" fmla="*/ 23 h 3128843"/>
              <a:gd name="connsiteX2" fmla="*/ 3314252 w 3314252"/>
              <a:gd name="connsiteY2" fmla="*/ 1564433 h 3128843"/>
              <a:gd name="connsiteX3" fmla="*/ 1657126 w 3314252"/>
              <a:gd name="connsiteY3" fmla="*/ 3128843 h 3128843"/>
              <a:gd name="connsiteX4" fmla="*/ 0 w 3314252"/>
              <a:gd name="connsiteY4" fmla="*/ 1564433 h 3128843"/>
              <a:gd name="connsiteX0" fmla="*/ 0 w 3314252"/>
              <a:gd name="connsiteY0" fmla="*/ 1564433 h 3129053"/>
              <a:gd name="connsiteX1" fmla="*/ 1657126 w 3314252"/>
              <a:gd name="connsiteY1" fmla="*/ 23 h 3129053"/>
              <a:gd name="connsiteX2" fmla="*/ 3314252 w 3314252"/>
              <a:gd name="connsiteY2" fmla="*/ 1564433 h 3129053"/>
              <a:gd name="connsiteX3" fmla="*/ 1657126 w 3314252"/>
              <a:gd name="connsiteY3" fmla="*/ 3128843 h 3129053"/>
              <a:gd name="connsiteX4" fmla="*/ 0 w 3314252"/>
              <a:gd name="connsiteY4" fmla="*/ 1564433 h 3129053"/>
              <a:gd name="connsiteX0" fmla="*/ 0 w 3314252"/>
              <a:gd name="connsiteY0" fmla="*/ 1564433 h 3131880"/>
              <a:gd name="connsiteX1" fmla="*/ 1657126 w 3314252"/>
              <a:gd name="connsiteY1" fmla="*/ 23 h 3131880"/>
              <a:gd name="connsiteX2" fmla="*/ 3314252 w 3314252"/>
              <a:gd name="connsiteY2" fmla="*/ 1564433 h 3131880"/>
              <a:gd name="connsiteX3" fmla="*/ 1657126 w 3314252"/>
              <a:gd name="connsiteY3" fmla="*/ 3128843 h 3131880"/>
              <a:gd name="connsiteX4" fmla="*/ 0 w 3314252"/>
              <a:gd name="connsiteY4" fmla="*/ 1564433 h 3131880"/>
              <a:gd name="connsiteX0" fmla="*/ 0 w 3314252"/>
              <a:gd name="connsiteY0" fmla="*/ 1564433 h 3131423"/>
              <a:gd name="connsiteX1" fmla="*/ 1657126 w 3314252"/>
              <a:gd name="connsiteY1" fmla="*/ 23 h 3131423"/>
              <a:gd name="connsiteX2" fmla="*/ 3314252 w 3314252"/>
              <a:gd name="connsiteY2" fmla="*/ 1564433 h 3131423"/>
              <a:gd name="connsiteX3" fmla="*/ 1657126 w 3314252"/>
              <a:gd name="connsiteY3" fmla="*/ 3128843 h 3131423"/>
              <a:gd name="connsiteX4" fmla="*/ 0 w 3314252"/>
              <a:gd name="connsiteY4" fmla="*/ 1564433 h 31314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14252" h="3131423">
                <a:moveTo>
                  <a:pt x="0" y="1564433"/>
                </a:moveTo>
                <a:cubicBezTo>
                  <a:pt x="0" y="700433"/>
                  <a:pt x="775256" y="19074"/>
                  <a:pt x="1657126" y="23"/>
                </a:cubicBezTo>
                <a:cubicBezTo>
                  <a:pt x="2639009" y="-4740"/>
                  <a:pt x="3314252" y="700433"/>
                  <a:pt x="3314252" y="1564433"/>
                </a:cubicBezTo>
                <a:cubicBezTo>
                  <a:pt x="3314252" y="2428433"/>
                  <a:pt x="2367543" y="3071694"/>
                  <a:pt x="1657126" y="3128843"/>
                </a:cubicBezTo>
                <a:cubicBezTo>
                  <a:pt x="665721" y="3181230"/>
                  <a:pt x="0" y="2428433"/>
                  <a:pt x="0" y="1564433"/>
                </a:cubicBezTo>
                <a:close/>
              </a:path>
            </a:pathLst>
          </a:custGeom>
          <a:solidFill>
            <a:srgbClr val="95E61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547352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2DC1286-507C-409B-B048-0E432650970D}" type="datetimeFigureOut">
              <a:rPr lang="en-US" smtClean="0"/>
              <a:t>7/18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62C01D-CEAC-4D78-83F0-C959E482489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845987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2DC1286-507C-409B-B048-0E432650970D}" type="datetimeFigureOut">
              <a:rPr lang="en-US" smtClean="0"/>
              <a:t>7/18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62C01D-CEAC-4D78-83F0-C959E482489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446000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2DC1286-507C-409B-B048-0E432650970D}" type="datetimeFigureOut">
              <a:rPr lang="en-US" smtClean="0"/>
              <a:t>7/18/2019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62C01D-CEAC-4D78-83F0-C959E482489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373677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2DC1286-507C-409B-B048-0E432650970D}" type="datetimeFigureOut">
              <a:rPr lang="en-US" smtClean="0"/>
              <a:t>7/18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62C01D-CEAC-4D78-83F0-C959E482489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943321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2DC1286-507C-409B-B048-0E432650970D}" type="datetimeFigureOut">
              <a:rPr lang="en-US" smtClean="0"/>
              <a:t>7/18/2019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62C01D-CEAC-4D78-83F0-C959E482489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331360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2DC1286-507C-409B-B048-0E432650970D}" type="datetimeFigureOut">
              <a:rPr lang="en-US" smtClean="0"/>
              <a:t>7/18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62C01D-CEAC-4D78-83F0-C959E482489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4813071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2DC1286-507C-409B-B048-0E432650970D}" type="datetimeFigureOut">
              <a:rPr lang="en-US" smtClean="0"/>
              <a:t>7/18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62C01D-CEAC-4D78-83F0-C959E482489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5759779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14.xml"/><Relationship Id="rId7" Type="http://schemas.openxmlformats.org/officeDocument/2006/relationships/tags" Target="../tags/tag1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vmlDrawing" Target="../drawings/vmlDrawing1.vml"/><Relationship Id="rId5" Type="http://schemas.openxmlformats.org/officeDocument/2006/relationships/theme" Target="../theme/theme2.xml"/><Relationship Id="rId4" Type="http://schemas.openxmlformats.org/officeDocument/2006/relationships/slideLayout" Target="../slideLayouts/slideLayout15.xml"/><Relationship Id="rId9" Type="http://schemas.openxmlformats.org/officeDocument/2006/relationships/image" Target="../media/image1.em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18.xml"/><Relationship Id="rId7" Type="http://schemas.openxmlformats.org/officeDocument/2006/relationships/slideLayout" Target="../slideLayouts/slideLayout22.xml"/><Relationship Id="rId12" Type="http://schemas.openxmlformats.org/officeDocument/2006/relationships/oleObject" Target="../embeddings/oleObject6.bin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tags" Target="../tags/tag6.xml"/><Relationship Id="rId5" Type="http://schemas.openxmlformats.org/officeDocument/2006/relationships/slideLayout" Target="../slideLayouts/slideLayout20.xml"/><Relationship Id="rId10" Type="http://schemas.openxmlformats.org/officeDocument/2006/relationships/vmlDrawing" Target="../drawings/vmlDrawing6.vml"/><Relationship Id="rId4" Type="http://schemas.openxmlformats.org/officeDocument/2006/relationships/slideLayout" Target="../slideLayouts/slideLayout19.xml"/><Relationship Id="rId9" Type="http://schemas.openxmlformats.org/officeDocument/2006/relationships/theme" Target="../theme/theme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2DC1286-507C-409B-B048-0E432650970D}" type="datetimeFigureOut">
              <a:rPr lang="en-US" smtClean="0"/>
              <a:t>7/18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062C01D-CEAC-4D78-83F0-C959E482489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435015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7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0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" name="Groupe 2">
            <a:extLst>
              <a:ext uri="{FF2B5EF4-FFF2-40B4-BE49-F238E27FC236}">
                <a16:creationId xmlns="" xmlns:a16="http://schemas.microsoft.com/office/drawing/2014/main" id="{2B612A8E-B9C0-4A33-BDF0-7B934FC0FA7B}"/>
              </a:ext>
            </a:extLst>
          </p:cNvPr>
          <p:cNvGrpSpPr/>
          <p:nvPr userDrawn="1"/>
        </p:nvGrpSpPr>
        <p:grpSpPr>
          <a:xfrm>
            <a:off x="12355040" y="33161"/>
            <a:ext cx="360000" cy="1800000"/>
            <a:chOff x="12355040" y="33161"/>
            <a:chExt cx="360000" cy="1800000"/>
          </a:xfrm>
        </p:grpSpPr>
        <p:sp>
          <p:nvSpPr>
            <p:cNvPr id="4" name="Rectangle 3">
              <a:extLst>
                <a:ext uri="{FF2B5EF4-FFF2-40B4-BE49-F238E27FC236}">
                  <a16:creationId xmlns="" xmlns:a16="http://schemas.microsoft.com/office/drawing/2014/main" id="{8759ABE2-EA66-4C96-A730-7AE70F160C4A}"/>
                </a:ext>
              </a:extLst>
            </p:cNvPr>
            <p:cNvSpPr/>
            <p:nvPr userDrawn="1"/>
          </p:nvSpPr>
          <p:spPr>
            <a:xfrm>
              <a:off x="12355040" y="33161"/>
              <a:ext cx="360000" cy="36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>
                <a:solidFill>
                  <a:srgbClr val="FFFFFF"/>
                </a:solidFill>
              </a:endParaRPr>
            </a:p>
          </p:txBody>
        </p:sp>
        <p:sp>
          <p:nvSpPr>
            <p:cNvPr id="5" name="Rectangle 4">
              <a:extLst>
                <a:ext uri="{FF2B5EF4-FFF2-40B4-BE49-F238E27FC236}">
                  <a16:creationId xmlns="" xmlns:a16="http://schemas.microsoft.com/office/drawing/2014/main" id="{A0575D8E-DADC-4A93-90E1-700FFEEB7476}"/>
                </a:ext>
              </a:extLst>
            </p:cNvPr>
            <p:cNvSpPr/>
            <p:nvPr userDrawn="1"/>
          </p:nvSpPr>
          <p:spPr>
            <a:xfrm>
              <a:off x="12355040" y="393161"/>
              <a:ext cx="360000" cy="360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>
                <a:solidFill>
                  <a:srgbClr val="FFFFFF"/>
                </a:solidFill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="" xmlns:a16="http://schemas.microsoft.com/office/drawing/2014/main" id="{797A0406-0F4B-4D43-9CEA-FDE61975CF1D}"/>
                </a:ext>
              </a:extLst>
            </p:cNvPr>
            <p:cNvSpPr/>
            <p:nvPr userDrawn="1"/>
          </p:nvSpPr>
          <p:spPr>
            <a:xfrm>
              <a:off x="12355040" y="753161"/>
              <a:ext cx="360000" cy="360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>
                <a:solidFill>
                  <a:srgbClr val="FFFFFF"/>
                </a:solidFill>
              </a:endParaRPr>
            </a:p>
          </p:txBody>
        </p:sp>
        <p:sp>
          <p:nvSpPr>
            <p:cNvPr id="7" name="Rectangle 6">
              <a:extLst>
                <a:ext uri="{FF2B5EF4-FFF2-40B4-BE49-F238E27FC236}">
                  <a16:creationId xmlns="" xmlns:a16="http://schemas.microsoft.com/office/drawing/2014/main" id="{D5ADBA43-C200-4485-A4EC-E3C6D0E787EB}"/>
                </a:ext>
              </a:extLst>
            </p:cNvPr>
            <p:cNvSpPr/>
            <p:nvPr userDrawn="1"/>
          </p:nvSpPr>
          <p:spPr>
            <a:xfrm>
              <a:off x="12355040" y="1113161"/>
              <a:ext cx="360000" cy="3600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>
                <a:solidFill>
                  <a:srgbClr val="FFFFFF"/>
                </a:solidFill>
              </a:endParaRPr>
            </a:p>
          </p:txBody>
        </p:sp>
        <p:sp>
          <p:nvSpPr>
            <p:cNvPr id="8" name="Rectangle 7">
              <a:extLst>
                <a:ext uri="{FF2B5EF4-FFF2-40B4-BE49-F238E27FC236}">
                  <a16:creationId xmlns="" xmlns:a16="http://schemas.microsoft.com/office/drawing/2014/main" id="{23914078-BC81-4D4F-882A-303F25DADB61}"/>
                </a:ext>
              </a:extLst>
            </p:cNvPr>
            <p:cNvSpPr/>
            <p:nvPr userDrawn="1"/>
          </p:nvSpPr>
          <p:spPr>
            <a:xfrm>
              <a:off x="12355040" y="1473161"/>
              <a:ext cx="360000" cy="360000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>
                <a:solidFill>
                  <a:srgbClr val="FFFFFF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316984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</p:sldLayoutIdLst>
  <p:txStyles>
    <p:titleStyle>
      <a:lvl1pPr marL="0" marR="0" indent="0" algn="l" defTabSz="914400" rtl="0" eaLnBrk="1" fontAlgn="auto" latinLnBrk="0" hangingPunct="1">
        <a:lnSpc>
          <a:spcPct val="90000"/>
        </a:lnSpc>
        <a:spcBef>
          <a:spcPct val="0"/>
        </a:spcBef>
        <a:spcAft>
          <a:spcPts val="0"/>
        </a:spcAft>
        <a:buClrTx/>
        <a:buSzTx/>
        <a:buFontTx/>
        <a:buNone/>
        <a:tabLst/>
        <a:defRPr kumimoji="0" lang="en-US" sz="3000" b="0" i="0" u="none" strike="noStrike" kern="1200" cap="none" spc="0" normalizeH="0" baseline="0" noProof="0" dirty="0">
          <a:ln>
            <a:noFill/>
          </a:ln>
          <a:solidFill>
            <a:schemeClr val="accent1"/>
          </a:solidFill>
          <a:effectLst/>
          <a:uLnTx/>
          <a:uFillTx/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000" kern="1200">
          <a:solidFill>
            <a:schemeClr val="tx1"/>
          </a:solidFill>
          <a:latin typeface="+mj-lt"/>
          <a:ea typeface="+mn-ea"/>
          <a:cs typeface="+mn-cs"/>
        </a:defRPr>
      </a:lvl1pPr>
      <a:lvl2pPr marL="539750" indent="-179388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j-lt"/>
          <a:ea typeface="+mn-ea"/>
          <a:cs typeface="+mn-cs"/>
        </a:defRPr>
      </a:lvl2pPr>
      <a:lvl3pPr marL="900113" indent="-179388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j-lt"/>
          <a:ea typeface="+mn-ea"/>
          <a:cs typeface="+mn-cs"/>
        </a:defRPr>
      </a:lvl3pPr>
      <a:lvl4pPr marL="1260475" indent="-179388" algn="l" defTabSz="914400" rtl="0" eaLnBrk="1" latinLnBrk="0" hangingPunct="1">
        <a:lnSpc>
          <a:spcPct val="90000"/>
        </a:lnSpc>
        <a:spcBef>
          <a:spcPts val="500"/>
        </a:spcBef>
        <a:buClr>
          <a:schemeClr val="accent3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j-lt"/>
          <a:ea typeface="+mn-ea"/>
          <a:cs typeface="+mn-cs"/>
        </a:defRPr>
      </a:lvl4pPr>
      <a:lvl5pPr marL="1620838" indent="-179388" algn="l" defTabSz="914400" rtl="0" eaLnBrk="1" latinLnBrk="0" hangingPunct="1">
        <a:lnSpc>
          <a:spcPct val="90000"/>
        </a:lnSpc>
        <a:spcBef>
          <a:spcPts val="500"/>
        </a:spcBef>
        <a:buClr>
          <a:schemeClr val="accent5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7506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11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0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oupe 1"/>
          <p:cNvGrpSpPr/>
          <p:nvPr userDrawn="1"/>
        </p:nvGrpSpPr>
        <p:grpSpPr>
          <a:xfrm>
            <a:off x="11501102" y="171573"/>
            <a:ext cx="419436" cy="388988"/>
            <a:chOff x="11501102" y="171573"/>
            <a:chExt cx="419436" cy="388988"/>
          </a:xfrm>
        </p:grpSpPr>
        <p:sp>
          <p:nvSpPr>
            <p:cNvPr id="4109" name="Freeform 13"/>
            <p:cNvSpPr>
              <a:spLocks/>
            </p:cNvSpPr>
            <p:nvPr userDrawn="1"/>
          </p:nvSpPr>
          <p:spPr bwMode="auto">
            <a:xfrm>
              <a:off x="11644642" y="334376"/>
              <a:ext cx="275896" cy="226185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8" y="43"/>
                </a:cxn>
                <a:cxn ang="0">
                  <a:pos x="141" y="0"/>
                </a:cxn>
                <a:cxn ang="0">
                  <a:pos x="49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6"/>
                </a:cxn>
                <a:cxn ang="0">
                  <a:pos x="125" y="107"/>
                </a:cxn>
              </a:cxnLst>
              <a:rect l="0" t="0" r="r" b="b"/>
              <a:pathLst>
                <a:path w="188" h="154">
                  <a:moveTo>
                    <a:pt x="125" y="107"/>
                  </a:moveTo>
                  <a:cubicBezTo>
                    <a:pt x="160" y="107"/>
                    <a:pt x="188" y="78"/>
                    <a:pt x="188" y="43"/>
                  </a:cubicBezTo>
                  <a:cubicBezTo>
                    <a:pt x="186" y="28"/>
                    <a:pt x="181" y="0"/>
                    <a:pt x="141" y="0"/>
                  </a:cubicBezTo>
                  <a:cubicBezTo>
                    <a:pt x="99" y="0"/>
                    <a:pt x="84" y="60"/>
                    <a:pt x="49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6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4110" name="Freeform 14"/>
            <p:cNvSpPr>
              <a:spLocks/>
            </p:cNvSpPr>
            <p:nvPr userDrawn="1"/>
          </p:nvSpPr>
          <p:spPr bwMode="auto">
            <a:xfrm>
              <a:off x="11501102" y="171573"/>
              <a:ext cx="419436" cy="356676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1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7" y="210"/>
                </a:cxn>
                <a:cxn ang="0">
                  <a:pos x="239" y="111"/>
                </a:cxn>
                <a:cxn ang="0">
                  <a:pos x="286" y="154"/>
                </a:cxn>
                <a:cxn ang="0">
                  <a:pos x="286" y="152"/>
                </a:cxn>
              </a:cxnLst>
              <a:rect l="0" t="0" r="r" b="b"/>
              <a:pathLst>
                <a:path w="286" h="243">
                  <a:moveTo>
                    <a:pt x="286" y="152"/>
                  </a:moveTo>
                  <a:cubicBezTo>
                    <a:pt x="286" y="112"/>
                    <a:pt x="266" y="78"/>
                    <a:pt x="237" y="51"/>
                  </a:cubicBezTo>
                  <a:cubicBezTo>
                    <a:pt x="215" y="30"/>
                    <a:pt x="188" y="15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4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6" y="222"/>
                    <a:pt x="147" y="210"/>
                  </a:cubicBezTo>
                  <a:cubicBezTo>
                    <a:pt x="182" y="171"/>
                    <a:pt x="197" y="111"/>
                    <a:pt x="239" y="111"/>
                  </a:cubicBezTo>
                  <a:cubicBezTo>
                    <a:pt x="279" y="111"/>
                    <a:pt x="284" y="139"/>
                    <a:pt x="286" y="154"/>
                  </a:cubicBezTo>
                  <a:cubicBezTo>
                    <a:pt x="286" y="154"/>
                    <a:pt x="286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</p:grpSp>
      <p:sp>
        <p:nvSpPr>
          <p:cNvPr id="7" name="Retângulo 43">
            <a:extLst>
              <a:ext uri="{FF2B5EF4-FFF2-40B4-BE49-F238E27FC236}">
                <a16:creationId xmlns="" xmlns:a16="http://schemas.microsoft.com/office/drawing/2014/main" id="{25FC8637-25BD-4C09-AF25-56B4243DAB3D}"/>
              </a:ext>
            </a:extLst>
          </p:cNvPr>
          <p:cNvSpPr/>
          <p:nvPr userDrawn="1"/>
        </p:nvSpPr>
        <p:spPr>
          <a:xfrm>
            <a:off x="11751670" y="6650661"/>
            <a:ext cx="176330" cy="123111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pPr algn="r"/>
            <a:fld id="{0502E5A9-B53C-401E-A0E0-4A359BB0A9E5}" type="slidenum">
              <a:rPr lang="en-US" sz="800">
                <a:solidFill>
                  <a:srgbClr val="FFFFFF">
                    <a:lumMod val="65000"/>
                  </a:srgbClr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800" dirty="0">
              <a:solidFill>
                <a:srgbClr val="FFFFFF">
                  <a:lumMod val="65000"/>
                </a:srgbClr>
              </a:solidFill>
              <a:cs typeface="Arial" panose="020B0604020202020204" pitchFamily="34" charset="0"/>
            </a:endParaRPr>
          </a:p>
        </p:txBody>
      </p:sp>
      <p:sp>
        <p:nvSpPr>
          <p:cNvPr id="6" name="Text Placeholder 7">
            <a:extLst>
              <a:ext uri="{FF2B5EF4-FFF2-40B4-BE49-F238E27FC236}">
                <a16:creationId xmlns="" xmlns:a16="http://schemas.microsoft.com/office/drawing/2014/main" id="{E824319D-02CC-441E-87B5-E9D15DE8CA35}"/>
              </a:ext>
            </a:extLst>
          </p:cNvPr>
          <p:cNvSpPr txBox="1">
            <a:spLocks/>
          </p:cNvSpPr>
          <p:nvPr userDrawn="1"/>
        </p:nvSpPr>
        <p:spPr>
          <a:xfrm>
            <a:off x="9017223" y="6650661"/>
            <a:ext cx="2664297" cy="123111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en-US" dirty="0">
                <a:solidFill>
                  <a:srgbClr val="FFFFFF">
                    <a:lumMod val="65000"/>
                  </a:srgbClr>
                </a:solidFill>
              </a:rPr>
              <a:t>© Capgemini 2018. All rights reserved  </a:t>
            </a:r>
            <a:r>
              <a:rPr lang="en-US" dirty="0">
                <a:solidFill>
                  <a:srgbClr val="12ABDB"/>
                </a:solidFill>
              </a:rPr>
              <a:t>|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="" xmlns:a16="http://schemas.microsoft.com/office/drawing/2014/main" id="{E824319D-02CC-441E-87B5-E9D15DE8CA35}"/>
              </a:ext>
            </a:extLst>
          </p:cNvPr>
          <p:cNvSpPr txBox="1">
            <a:spLocks/>
          </p:cNvSpPr>
          <p:nvPr userDrawn="1"/>
        </p:nvSpPr>
        <p:spPr>
          <a:xfrm>
            <a:off x="227348" y="6650661"/>
            <a:ext cx="4716524" cy="123111"/>
          </a:xfrm>
          <a:prstGeom prst="rect">
            <a:avLst/>
          </a:prstGeom>
        </p:spPr>
        <p:txBody>
          <a:bodyPr wrap="none"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rgbClr val="FFFFFF">
                    <a:lumMod val="65000"/>
                  </a:srgbClr>
                </a:solidFill>
              </a:rPr>
              <a:t>Presentation Title | Author | Date</a:t>
            </a:r>
          </a:p>
        </p:txBody>
      </p:sp>
      <p:sp>
        <p:nvSpPr>
          <p:cNvPr id="4" name="Espace réservé du texte 3"/>
          <p:cNvSpPr>
            <a:spLocks noGrp="1"/>
          </p:cNvSpPr>
          <p:nvPr userDrawn="1">
            <p:ph type="body" idx="1"/>
          </p:nvPr>
        </p:nvSpPr>
        <p:spPr>
          <a:xfrm>
            <a:off x="227348" y="1815352"/>
            <a:ext cx="11700000" cy="446620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  <p:sp>
        <p:nvSpPr>
          <p:cNvPr id="9" name="Espace réservé du titre 8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dirty="0"/>
              <a:t>Click to insert </a:t>
            </a:r>
            <a:r>
              <a:rPr lang="fr-FR" dirty="0" err="1"/>
              <a:t>title</a:t>
            </a:r>
            <a:endParaRPr lang="en-US" dirty="0"/>
          </a:p>
        </p:txBody>
      </p:sp>
      <p:grpSp>
        <p:nvGrpSpPr>
          <p:cNvPr id="3" name="Groupe 2">
            <a:extLst>
              <a:ext uri="{FF2B5EF4-FFF2-40B4-BE49-F238E27FC236}">
                <a16:creationId xmlns="" xmlns:a16="http://schemas.microsoft.com/office/drawing/2014/main" id="{231F4250-75BE-456B-A9D8-680BA4145249}"/>
              </a:ext>
            </a:extLst>
          </p:cNvPr>
          <p:cNvGrpSpPr/>
          <p:nvPr userDrawn="1"/>
        </p:nvGrpSpPr>
        <p:grpSpPr>
          <a:xfrm>
            <a:off x="12355040" y="33161"/>
            <a:ext cx="360000" cy="1800000"/>
            <a:chOff x="12355040" y="33161"/>
            <a:chExt cx="360000" cy="1800000"/>
          </a:xfrm>
        </p:grpSpPr>
        <p:sp>
          <p:nvSpPr>
            <p:cNvPr id="11" name="Rectangle 10">
              <a:extLst>
                <a:ext uri="{FF2B5EF4-FFF2-40B4-BE49-F238E27FC236}">
                  <a16:creationId xmlns="" xmlns:a16="http://schemas.microsoft.com/office/drawing/2014/main" id="{EF1244FD-1856-4971-9A73-AD6DF3F42A90}"/>
                </a:ext>
              </a:extLst>
            </p:cNvPr>
            <p:cNvSpPr/>
            <p:nvPr userDrawn="1"/>
          </p:nvSpPr>
          <p:spPr>
            <a:xfrm>
              <a:off x="12355040" y="33161"/>
              <a:ext cx="360000" cy="36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>
                <a:solidFill>
                  <a:srgbClr val="FFFFFF"/>
                </a:solidFill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="" xmlns:a16="http://schemas.microsoft.com/office/drawing/2014/main" id="{22B40C78-6F20-4C95-AB26-B29FEC0FF747}"/>
                </a:ext>
              </a:extLst>
            </p:cNvPr>
            <p:cNvSpPr/>
            <p:nvPr userDrawn="1"/>
          </p:nvSpPr>
          <p:spPr>
            <a:xfrm>
              <a:off x="12355040" y="393161"/>
              <a:ext cx="360000" cy="360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>
                <a:solidFill>
                  <a:srgbClr val="FFFFFF"/>
                </a:solidFill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="" xmlns:a16="http://schemas.microsoft.com/office/drawing/2014/main" id="{1AED4E7D-39CE-49AE-9D4C-16EA940CBE5F}"/>
                </a:ext>
              </a:extLst>
            </p:cNvPr>
            <p:cNvSpPr/>
            <p:nvPr userDrawn="1"/>
          </p:nvSpPr>
          <p:spPr>
            <a:xfrm>
              <a:off x="12355040" y="753161"/>
              <a:ext cx="360000" cy="360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>
                <a:solidFill>
                  <a:srgbClr val="FFFFFF"/>
                </a:solidFill>
              </a:endParaRPr>
            </a:p>
          </p:txBody>
        </p:sp>
        <p:sp>
          <p:nvSpPr>
            <p:cNvPr id="14" name="Rectangle 13">
              <a:extLst>
                <a:ext uri="{FF2B5EF4-FFF2-40B4-BE49-F238E27FC236}">
                  <a16:creationId xmlns="" xmlns:a16="http://schemas.microsoft.com/office/drawing/2014/main" id="{392DC803-B0F7-4D0E-81CA-9DDCB14FA42C}"/>
                </a:ext>
              </a:extLst>
            </p:cNvPr>
            <p:cNvSpPr/>
            <p:nvPr userDrawn="1"/>
          </p:nvSpPr>
          <p:spPr>
            <a:xfrm>
              <a:off x="12355040" y="1113161"/>
              <a:ext cx="360000" cy="3600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>
                <a:solidFill>
                  <a:srgbClr val="FFFFFF"/>
                </a:solidFill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="" xmlns:a16="http://schemas.microsoft.com/office/drawing/2014/main" id="{03C5671A-353B-4887-BEEF-56CEFAE8D83D}"/>
                </a:ext>
              </a:extLst>
            </p:cNvPr>
            <p:cNvSpPr/>
            <p:nvPr userDrawn="1"/>
          </p:nvSpPr>
          <p:spPr>
            <a:xfrm>
              <a:off x="12355040" y="1473161"/>
              <a:ext cx="360000" cy="360000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5" name="Groupe 4">
            <a:extLst>
              <a:ext uri="{FF2B5EF4-FFF2-40B4-BE49-F238E27FC236}">
                <a16:creationId xmlns="" xmlns:a16="http://schemas.microsoft.com/office/drawing/2014/main" id="{CC6ACEFF-8651-4C08-BAF6-3BFAE6473DAF}"/>
              </a:ext>
            </a:extLst>
          </p:cNvPr>
          <p:cNvGrpSpPr/>
          <p:nvPr userDrawn="1"/>
        </p:nvGrpSpPr>
        <p:grpSpPr>
          <a:xfrm>
            <a:off x="12355040" y="1954479"/>
            <a:ext cx="360000" cy="4875772"/>
            <a:chOff x="12355040" y="1954479"/>
            <a:chExt cx="360000" cy="4875772"/>
          </a:xfrm>
        </p:grpSpPr>
        <p:sp>
          <p:nvSpPr>
            <p:cNvPr id="16" name="Rectangle 15">
              <a:extLst>
                <a:ext uri="{FF2B5EF4-FFF2-40B4-BE49-F238E27FC236}">
                  <a16:creationId xmlns="" xmlns:a16="http://schemas.microsoft.com/office/drawing/2014/main" id="{D27E2B2B-AB85-4173-AB1F-61084925AA83}"/>
                </a:ext>
              </a:extLst>
            </p:cNvPr>
            <p:cNvSpPr/>
            <p:nvPr userDrawn="1"/>
          </p:nvSpPr>
          <p:spPr>
            <a:xfrm>
              <a:off x="12355040" y="1954479"/>
              <a:ext cx="360000" cy="360000"/>
            </a:xfrm>
            <a:prstGeom prst="rect">
              <a:avLst/>
            </a:prstGeom>
            <a:solidFill>
              <a:srgbClr val="80B8D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marL="58738" algn="ctr">
                <a:spcAft>
                  <a:spcPts val="300"/>
                </a:spcAft>
              </a:pPr>
              <a:endParaRPr lang="en-GB" sz="900" dirty="0">
                <a:solidFill>
                  <a:srgbClr val="FFFFFF"/>
                </a:solidFill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="" xmlns:a16="http://schemas.microsoft.com/office/drawing/2014/main" id="{0DDEBD8A-CA0B-4D62-9426-DFB2D4742184}"/>
                </a:ext>
              </a:extLst>
            </p:cNvPr>
            <p:cNvSpPr/>
            <p:nvPr userDrawn="1"/>
          </p:nvSpPr>
          <p:spPr>
            <a:xfrm>
              <a:off x="12355040" y="2301846"/>
              <a:ext cx="360000" cy="360000"/>
            </a:xfrm>
            <a:prstGeom prst="rect">
              <a:avLst/>
            </a:prstGeom>
            <a:solidFill>
              <a:srgbClr val="88D5E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marL="58738" algn="ctr">
                <a:spcAft>
                  <a:spcPts val="300"/>
                </a:spcAft>
              </a:pPr>
              <a:endParaRPr lang="en-GB" sz="900" dirty="0">
                <a:solidFill>
                  <a:srgbClr val="FFFFFF"/>
                </a:solidFill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="" xmlns:a16="http://schemas.microsoft.com/office/drawing/2014/main" id="{65515214-3AFD-4A2B-95C5-2FDFF59A1BE2}"/>
                </a:ext>
              </a:extLst>
            </p:cNvPr>
            <p:cNvSpPr/>
            <p:nvPr userDrawn="1"/>
          </p:nvSpPr>
          <p:spPr>
            <a:xfrm>
              <a:off x="12355040" y="5080782"/>
              <a:ext cx="360000" cy="360000"/>
            </a:xfrm>
            <a:prstGeom prst="rect">
              <a:avLst/>
            </a:prstGeom>
            <a:solidFill>
              <a:srgbClr val="6D64C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>
                <a:solidFill>
                  <a:srgbClr val="FFFFFF"/>
                </a:solidFill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="" xmlns:a16="http://schemas.microsoft.com/office/drawing/2014/main" id="{D674829A-E5EF-4140-B9ED-AC7745AB028D}"/>
                </a:ext>
              </a:extLst>
            </p:cNvPr>
            <p:cNvSpPr/>
            <p:nvPr userDrawn="1"/>
          </p:nvSpPr>
          <p:spPr>
            <a:xfrm>
              <a:off x="12355040" y="6470251"/>
              <a:ext cx="360000" cy="360000"/>
            </a:xfrm>
            <a:prstGeom prst="rect">
              <a:avLst/>
            </a:prstGeom>
            <a:solidFill>
              <a:srgbClr val="FF632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>
                <a:solidFill>
                  <a:srgbClr val="FFFFFF"/>
                </a:solidFill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="" xmlns:a16="http://schemas.microsoft.com/office/drawing/2014/main" id="{E59B3FCE-0262-45FE-BE39-9459C5BC7FEE}"/>
                </a:ext>
              </a:extLst>
            </p:cNvPr>
            <p:cNvSpPr/>
            <p:nvPr userDrawn="1"/>
          </p:nvSpPr>
          <p:spPr>
            <a:xfrm>
              <a:off x="12355040" y="4038681"/>
              <a:ext cx="360000" cy="360000"/>
            </a:xfrm>
            <a:prstGeom prst="rect">
              <a:avLst/>
            </a:prstGeom>
            <a:solidFill>
              <a:srgbClr val="C8FF1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>
                <a:solidFill>
                  <a:srgbClr val="FFFFFF"/>
                </a:solidFill>
              </a:endParaRPr>
            </a:p>
          </p:txBody>
        </p:sp>
        <p:sp>
          <p:nvSpPr>
            <p:cNvPr id="22" name="Rectangle 21">
              <a:extLst>
                <a:ext uri="{FF2B5EF4-FFF2-40B4-BE49-F238E27FC236}">
                  <a16:creationId xmlns="" xmlns:a16="http://schemas.microsoft.com/office/drawing/2014/main" id="{F5D692DE-D6DE-4022-9F2F-5F8C1403E4D0}"/>
                </a:ext>
              </a:extLst>
            </p:cNvPr>
            <p:cNvSpPr/>
            <p:nvPr userDrawn="1"/>
          </p:nvSpPr>
          <p:spPr>
            <a:xfrm>
              <a:off x="12355040" y="4733415"/>
              <a:ext cx="360000" cy="360000"/>
            </a:xfrm>
            <a:prstGeom prst="rect">
              <a:avLst/>
            </a:prstGeom>
            <a:solidFill>
              <a:srgbClr val="7E39B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>
                <a:solidFill>
                  <a:srgbClr val="FFFFFF"/>
                </a:solidFill>
              </a:endParaRPr>
            </a:p>
          </p:txBody>
        </p:sp>
        <p:sp>
          <p:nvSpPr>
            <p:cNvPr id="23" name="Rectangle 22">
              <a:extLst>
                <a:ext uri="{FF2B5EF4-FFF2-40B4-BE49-F238E27FC236}">
                  <a16:creationId xmlns="" xmlns:a16="http://schemas.microsoft.com/office/drawing/2014/main" id="{35EEF2F0-E01D-4851-96E7-30214EC78A3B}"/>
                </a:ext>
              </a:extLst>
            </p:cNvPr>
            <p:cNvSpPr/>
            <p:nvPr userDrawn="1"/>
          </p:nvSpPr>
          <p:spPr>
            <a:xfrm>
              <a:off x="12355040" y="3691314"/>
              <a:ext cx="360000" cy="360000"/>
            </a:xfrm>
            <a:prstGeom prst="rect">
              <a:avLst/>
            </a:prstGeom>
            <a:solidFill>
              <a:srgbClr val="00C37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>
                <a:solidFill>
                  <a:srgbClr val="FFFFFF"/>
                </a:solidFill>
              </a:endParaRPr>
            </a:p>
          </p:txBody>
        </p:sp>
        <p:sp>
          <p:nvSpPr>
            <p:cNvPr id="24" name="Rectangle 23">
              <a:extLst>
                <a:ext uri="{FF2B5EF4-FFF2-40B4-BE49-F238E27FC236}">
                  <a16:creationId xmlns="" xmlns:a16="http://schemas.microsoft.com/office/drawing/2014/main" id="{468B1DDD-74B0-4453-A996-5BA8693FF545}"/>
                </a:ext>
              </a:extLst>
            </p:cNvPr>
            <p:cNvSpPr/>
            <p:nvPr userDrawn="1"/>
          </p:nvSpPr>
          <p:spPr>
            <a:xfrm>
              <a:off x="12355040" y="2649213"/>
              <a:ext cx="360000" cy="360000"/>
            </a:xfrm>
            <a:prstGeom prst="rect">
              <a:avLst/>
            </a:prstGeom>
            <a:solidFill>
              <a:srgbClr val="15636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>
                <a:solidFill>
                  <a:srgbClr val="FFFFFF"/>
                </a:solidFill>
              </a:endParaRPr>
            </a:p>
          </p:txBody>
        </p:sp>
        <p:sp>
          <p:nvSpPr>
            <p:cNvPr id="25" name="Rectangle 24">
              <a:extLst>
                <a:ext uri="{FF2B5EF4-FFF2-40B4-BE49-F238E27FC236}">
                  <a16:creationId xmlns="" xmlns:a16="http://schemas.microsoft.com/office/drawing/2014/main" id="{8809D5E9-1B2A-4D30-A4DD-47B7C9BBCEDC}"/>
                </a:ext>
              </a:extLst>
            </p:cNvPr>
            <p:cNvSpPr/>
            <p:nvPr userDrawn="1"/>
          </p:nvSpPr>
          <p:spPr>
            <a:xfrm>
              <a:off x="12355040" y="2996580"/>
              <a:ext cx="360000" cy="360000"/>
            </a:xfrm>
            <a:prstGeom prst="rect">
              <a:avLst/>
            </a:prstGeom>
            <a:solidFill>
              <a:srgbClr val="0F999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>
                <a:solidFill>
                  <a:srgbClr val="FFFFFF"/>
                </a:solidFill>
              </a:endParaRPr>
            </a:p>
          </p:txBody>
        </p:sp>
        <p:sp>
          <p:nvSpPr>
            <p:cNvPr id="26" name="Rectangle 25">
              <a:extLst>
                <a:ext uri="{FF2B5EF4-FFF2-40B4-BE49-F238E27FC236}">
                  <a16:creationId xmlns="" xmlns:a16="http://schemas.microsoft.com/office/drawing/2014/main" id="{995FF3A0-94CA-40BA-AF81-B777FF5FD489}"/>
                </a:ext>
              </a:extLst>
            </p:cNvPr>
            <p:cNvSpPr/>
            <p:nvPr userDrawn="1"/>
          </p:nvSpPr>
          <p:spPr>
            <a:xfrm>
              <a:off x="12355040" y="3343947"/>
              <a:ext cx="360000" cy="360000"/>
            </a:xfrm>
            <a:prstGeom prst="rect">
              <a:avLst/>
            </a:prstGeom>
            <a:solidFill>
              <a:srgbClr val="01D1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>
                <a:solidFill>
                  <a:srgbClr val="FFFFFF"/>
                </a:solidFill>
              </a:endParaRPr>
            </a:p>
          </p:txBody>
        </p:sp>
        <p:sp>
          <p:nvSpPr>
            <p:cNvPr id="27" name="Rectangle 26">
              <a:extLst>
                <a:ext uri="{FF2B5EF4-FFF2-40B4-BE49-F238E27FC236}">
                  <a16:creationId xmlns="" xmlns:a16="http://schemas.microsoft.com/office/drawing/2014/main" id="{9F83F12C-5135-43B7-B1D8-A0A72DB85AED}"/>
                </a:ext>
              </a:extLst>
            </p:cNvPr>
            <p:cNvSpPr/>
            <p:nvPr userDrawn="1"/>
          </p:nvSpPr>
          <p:spPr>
            <a:xfrm>
              <a:off x="12355040" y="6122883"/>
              <a:ext cx="360000" cy="360000"/>
            </a:xfrm>
            <a:prstGeom prst="rect">
              <a:avLst/>
            </a:prstGeom>
            <a:solidFill>
              <a:srgbClr val="FF7E8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>
                <a:solidFill>
                  <a:srgbClr val="FFFFFF"/>
                </a:solidFill>
              </a:endParaRPr>
            </a:p>
          </p:txBody>
        </p:sp>
        <p:sp>
          <p:nvSpPr>
            <p:cNvPr id="28" name="Rectangle 27">
              <a:extLst>
                <a:ext uri="{FF2B5EF4-FFF2-40B4-BE49-F238E27FC236}">
                  <a16:creationId xmlns="" xmlns:a16="http://schemas.microsoft.com/office/drawing/2014/main" id="{256CA1CF-2C4A-42DA-94F5-CB5E5B47F24B}"/>
                </a:ext>
              </a:extLst>
            </p:cNvPr>
            <p:cNvSpPr/>
            <p:nvPr userDrawn="1"/>
          </p:nvSpPr>
          <p:spPr>
            <a:xfrm>
              <a:off x="12355040" y="5775516"/>
              <a:ext cx="360000" cy="360000"/>
            </a:xfrm>
            <a:prstGeom prst="rect">
              <a:avLst/>
            </a:prstGeom>
            <a:solidFill>
              <a:srgbClr val="CB298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>
                <a:solidFill>
                  <a:srgbClr val="FFFFFF"/>
                </a:solidFill>
              </a:endParaRPr>
            </a:p>
          </p:txBody>
        </p:sp>
        <p:sp>
          <p:nvSpPr>
            <p:cNvPr id="29" name="Rectangle 28">
              <a:extLst>
                <a:ext uri="{FF2B5EF4-FFF2-40B4-BE49-F238E27FC236}">
                  <a16:creationId xmlns="" xmlns:a16="http://schemas.microsoft.com/office/drawing/2014/main" id="{47F07AFA-8569-4B3B-854A-60B26629D96D}"/>
                </a:ext>
              </a:extLst>
            </p:cNvPr>
            <p:cNvSpPr/>
            <p:nvPr userDrawn="1"/>
          </p:nvSpPr>
          <p:spPr>
            <a:xfrm>
              <a:off x="12355040" y="5428149"/>
              <a:ext cx="360000" cy="360000"/>
            </a:xfrm>
            <a:prstGeom prst="rect">
              <a:avLst/>
            </a:prstGeom>
            <a:solidFill>
              <a:srgbClr val="86086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>
                <a:solidFill>
                  <a:srgbClr val="FFFFFF"/>
                </a:solidFill>
              </a:endParaRPr>
            </a:p>
          </p:txBody>
        </p:sp>
        <p:sp>
          <p:nvSpPr>
            <p:cNvPr id="30" name="Rectangle 29">
              <a:extLst>
                <a:ext uri="{FF2B5EF4-FFF2-40B4-BE49-F238E27FC236}">
                  <a16:creationId xmlns="" xmlns:a16="http://schemas.microsoft.com/office/drawing/2014/main" id="{8103554C-8B73-4C9A-AFFF-55D6E47A0E76}"/>
                </a:ext>
              </a:extLst>
            </p:cNvPr>
            <p:cNvSpPr/>
            <p:nvPr userDrawn="1"/>
          </p:nvSpPr>
          <p:spPr>
            <a:xfrm>
              <a:off x="12355040" y="4386048"/>
              <a:ext cx="360000" cy="360000"/>
            </a:xfrm>
            <a:prstGeom prst="rect">
              <a:avLst/>
            </a:prstGeom>
            <a:solidFill>
              <a:srgbClr val="4701A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>
                <a:solidFill>
                  <a:srgbClr val="FFFFFF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995295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667" r:id="rId2"/>
    <p:sldLayoutId id="2147483668" r:id="rId3"/>
    <p:sldLayoutId id="2147483669" r:id="rId4"/>
    <p:sldLayoutId id="2147483670" r:id="rId5"/>
    <p:sldLayoutId id="2147483671" r:id="rId6"/>
    <p:sldLayoutId id="2147483672" r:id="rId7"/>
    <p:sldLayoutId id="2147483673" r:id="rId8"/>
  </p:sldLayoutIdLst>
  <p:txStyles>
    <p:titleStyle>
      <a:lvl1pPr marL="0" marR="0" indent="0" algn="l" defTabSz="914400" rtl="0" eaLnBrk="1" fontAlgn="auto" latinLnBrk="0" hangingPunct="1">
        <a:lnSpc>
          <a:spcPct val="90000"/>
        </a:lnSpc>
        <a:spcBef>
          <a:spcPct val="0"/>
        </a:spcBef>
        <a:spcAft>
          <a:spcPts val="0"/>
        </a:spcAft>
        <a:buClrTx/>
        <a:buSzTx/>
        <a:buFontTx/>
        <a:buNone/>
        <a:tabLst/>
        <a:defRPr kumimoji="0" lang="en-US" sz="3000" b="0" i="0" u="none" strike="noStrike" kern="1200" cap="none" spc="0" normalizeH="0" baseline="0" noProof="0" dirty="0">
          <a:ln>
            <a:noFill/>
          </a:ln>
          <a:solidFill>
            <a:schemeClr val="accent1"/>
          </a:solidFill>
          <a:effectLst/>
          <a:uLnTx/>
          <a:uFillTx/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000" kern="1200">
          <a:solidFill>
            <a:schemeClr val="tx1"/>
          </a:solidFill>
          <a:latin typeface="+mj-lt"/>
          <a:ea typeface="+mn-ea"/>
          <a:cs typeface="+mn-cs"/>
        </a:defRPr>
      </a:lvl1pPr>
      <a:lvl2pPr marL="2667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j-lt"/>
          <a:ea typeface="+mn-ea"/>
          <a:cs typeface="+mn-cs"/>
        </a:defRPr>
      </a:lvl2pPr>
      <a:lvl3pPr marL="4445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j-lt"/>
          <a:ea typeface="+mn-ea"/>
          <a:cs typeface="+mn-cs"/>
        </a:defRPr>
      </a:lvl3pPr>
      <a:lvl4pPr marL="6223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3"/>
        </a:buClr>
        <a:buFont typeface="Verdana" panose="020B0604030504040204" pitchFamily="34" charset="0"/>
        <a:buChar char="‒"/>
        <a:defRPr sz="1400" kern="1200">
          <a:solidFill>
            <a:schemeClr val="tx1"/>
          </a:solidFill>
          <a:latin typeface="+mj-lt"/>
          <a:ea typeface="+mn-ea"/>
          <a:cs typeface="+mn-cs"/>
        </a:defRPr>
      </a:lvl4pPr>
      <a:lvl5pPr marL="812800" indent="-190500" algn="l" defTabSz="914400" rtl="0" eaLnBrk="1" latinLnBrk="0" hangingPunct="1">
        <a:lnSpc>
          <a:spcPct val="90000"/>
        </a:lnSpc>
        <a:spcBef>
          <a:spcPts val="500"/>
        </a:spcBef>
        <a:buClr>
          <a:schemeClr val="accent5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709">
          <p15:clr>
            <a:srgbClr val="F26B43"/>
          </p15:clr>
        </p15:guide>
        <p15:guide id="2" pos="7506">
          <p15:clr>
            <a:srgbClr val="F26B43"/>
          </p15:clr>
        </p15:guide>
        <p15:guide id="3" orient="horz" pos="4088">
          <p15:clr>
            <a:srgbClr val="F26B43"/>
          </p15:clr>
        </p15:guide>
        <p15:guide id="4" pos="143">
          <p15:clr>
            <a:srgbClr val="F26B43"/>
          </p15:clr>
        </p15:guide>
        <p15:guide id="5" orient="horz" pos="1139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6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6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API Testing</a:t>
            </a:r>
            <a:endParaRPr lang="en-GB" dirty="0"/>
          </a:p>
        </p:txBody>
      </p:sp>
      <p:sp>
        <p:nvSpPr>
          <p:cNvPr id="5" name="Subtitle 4"/>
          <p:cNvSpPr>
            <a:spLocks noGrp="1"/>
          </p:cNvSpPr>
          <p:nvPr>
            <p:ph type="subTitle" idx="1"/>
          </p:nvPr>
        </p:nvSpPr>
        <p:spPr>
          <a:xfrm>
            <a:off x="5016499" y="5376231"/>
            <a:ext cx="6899275" cy="363557"/>
          </a:xfrm>
        </p:spPr>
        <p:txBody>
          <a:bodyPr/>
          <a:lstStyle/>
          <a:p>
            <a:r>
              <a:rPr lang="en-US" dirty="0" smtClean="0"/>
              <a:t>Web Servic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882496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/>
          <a:p>
            <a:r>
              <a:rPr lang="en-GB" dirty="0" smtClean="0"/>
              <a:t>Introduction to API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27349" y="1214082"/>
            <a:ext cx="11700000" cy="5176653"/>
          </a:xfrm>
        </p:spPr>
        <p:txBody>
          <a:bodyPr/>
          <a:lstStyle/>
          <a:p>
            <a:pPr lvl="1"/>
            <a:endParaRPr lang="en-US" dirty="0"/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2400" dirty="0">
                <a:solidFill>
                  <a:srgbClr val="0070C0"/>
                </a:solidFill>
              </a:rPr>
              <a:t>API is a software interface that enables two applications to communicate with each other like Google-Maps, Amazon advertising API, You-tube </a:t>
            </a:r>
            <a:r>
              <a:rPr lang="en-US" sz="2400" dirty="0" smtClean="0">
                <a:solidFill>
                  <a:srgbClr val="0070C0"/>
                </a:solidFill>
              </a:rPr>
              <a:t>API’s.</a:t>
            </a:r>
          </a:p>
          <a:p>
            <a:endParaRPr lang="en-US" sz="2400" dirty="0">
              <a:solidFill>
                <a:srgbClr val="0070C0"/>
              </a:solidFill>
            </a:endParaRP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GB" sz="2400" dirty="0" smtClean="0">
                <a:solidFill>
                  <a:srgbClr val="0070C0"/>
                </a:solidFill>
              </a:rPr>
              <a:t>All Web services are API’s, but all API’s are not Web Services.</a:t>
            </a:r>
          </a:p>
          <a:p>
            <a:endParaRPr lang="en-GB" sz="2400" dirty="0" smtClean="0">
              <a:solidFill>
                <a:srgbClr val="0070C0"/>
              </a:solidFill>
            </a:endParaRP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GB" sz="2400" dirty="0" smtClean="0">
                <a:solidFill>
                  <a:srgbClr val="0070C0"/>
                </a:solidFill>
              </a:rPr>
              <a:t>Web Services may not contain all specifications,&amp; cannot perform all tasks as API’s are doing but API will contain all specifications needed.</a:t>
            </a:r>
            <a:endParaRPr lang="en-GB" sz="2400" dirty="0">
              <a:solidFill>
                <a:srgbClr val="0070C0"/>
              </a:solidFill>
            </a:endParaRP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GB" sz="2400" dirty="0" smtClean="0">
                <a:solidFill>
                  <a:srgbClr val="0070C0"/>
                </a:solidFill>
              </a:rPr>
              <a:t>WEB Services types</a:t>
            </a:r>
          </a:p>
          <a:p>
            <a:r>
              <a:rPr lang="en-GB" sz="2400" dirty="0">
                <a:solidFill>
                  <a:srgbClr val="0070C0"/>
                </a:solidFill>
              </a:rPr>
              <a:t>	</a:t>
            </a:r>
            <a:r>
              <a:rPr lang="en-GB" sz="2400" dirty="0" smtClean="0">
                <a:solidFill>
                  <a:srgbClr val="0070C0"/>
                </a:solidFill>
              </a:rPr>
              <a:t>SOAPS-Simple Object Access Protocol; using XML</a:t>
            </a:r>
          </a:p>
          <a:p>
            <a:r>
              <a:rPr lang="en-GB" sz="2400" dirty="0">
                <a:solidFill>
                  <a:srgbClr val="0070C0"/>
                </a:solidFill>
              </a:rPr>
              <a:t>	</a:t>
            </a:r>
            <a:r>
              <a:rPr lang="en-GB" sz="2400" dirty="0" smtClean="0">
                <a:solidFill>
                  <a:srgbClr val="0070C0"/>
                </a:solidFill>
              </a:rPr>
              <a:t>REST-Representational State transfer; JSON/XML</a:t>
            </a:r>
          </a:p>
          <a:p>
            <a:endParaRPr lang="en-GB" sz="2400" dirty="0" smtClean="0">
              <a:solidFill>
                <a:srgbClr val="0070C0"/>
              </a:solidFill>
            </a:endParaRPr>
          </a:p>
          <a:p>
            <a:pPr marL="342900" indent="-342900">
              <a:buFont typeface="Wingdings" panose="05000000000000000000" pitchFamily="2" charset="2"/>
              <a:buChar char="Ø"/>
            </a:pPr>
            <a:endParaRPr lang="en-GB" sz="2400" dirty="0">
              <a:solidFill>
                <a:srgbClr val="0070C0"/>
              </a:solidFill>
            </a:endParaRPr>
          </a:p>
          <a:p>
            <a:endParaRPr lang="en-GB" dirty="0" smtClean="0">
              <a:solidFill>
                <a:srgbClr val="0070C0"/>
              </a:solidFill>
            </a:endParaRPr>
          </a:p>
          <a:p>
            <a:endParaRPr lang="en-GB" dirty="0" smtClean="0">
              <a:solidFill>
                <a:srgbClr val="0070C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674466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/>
          <a:p>
            <a:r>
              <a:rPr lang="en-GB" dirty="0" smtClean="0"/>
              <a:t>Architecture for Creating WEB-API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27349" y="1214082"/>
            <a:ext cx="11700000" cy="5176653"/>
          </a:xfrm>
        </p:spPr>
        <p:txBody>
          <a:bodyPr/>
          <a:lstStyle/>
          <a:p>
            <a:pPr lvl="1"/>
            <a:endParaRPr lang="en-US" dirty="0"/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GB" sz="2800" dirty="0" smtClean="0">
                <a:solidFill>
                  <a:srgbClr val="0070C0"/>
                </a:solidFill>
              </a:rPr>
              <a:t>Http for client server interaction</a:t>
            </a:r>
          </a:p>
          <a:p>
            <a:endParaRPr lang="en-GB" sz="2800" dirty="0" smtClean="0">
              <a:solidFill>
                <a:srgbClr val="0070C0"/>
              </a:solidFill>
            </a:endParaRP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GB" sz="2800" dirty="0" smtClean="0">
                <a:solidFill>
                  <a:srgbClr val="0070C0"/>
                </a:solidFill>
              </a:rPr>
              <a:t> Using XML/JSON to communicate and pass data</a:t>
            </a:r>
          </a:p>
          <a:p>
            <a:endParaRPr lang="en-GB" sz="2800" dirty="0" smtClean="0">
              <a:solidFill>
                <a:srgbClr val="0070C0"/>
              </a:solidFill>
            </a:endParaRP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GB" sz="2800" dirty="0" smtClean="0">
                <a:solidFill>
                  <a:srgbClr val="0070C0"/>
                </a:solidFill>
              </a:rPr>
              <a:t> URI as address for the servers, to hit a server through URI’s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endParaRPr lang="en-GB" sz="2400" dirty="0">
              <a:solidFill>
                <a:srgbClr val="0070C0"/>
              </a:solidFill>
            </a:endParaRPr>
          </a:p>
          <a:p>
            <a:endParaRPr lang="en-GB" dirty="0" smtClean="0">
              <a:solidFill>
                <a:srgbClr val="0070C0"/>
              </a:solidFill>
            </a:endParaRPr>
          </a:p>
          <a:p>
            <a:endParaRPr lang="en-GB" dirty="0" smtClean="0">
              <a:solidFill>
                <a:srgbClr val="0070C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928060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/>
          <a:p>
            <a:r>
              <a:rPr lang="en-GB" dirty="0" smtClean="0"/>
              <a:t>API testing NEED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27349" y="1214082"/>
            <a:ext cx="11700000" cy="5176653"/>
          </a:xfrm>
        </p:spPr>
        <p:txBody>
          <a:bodyPr>
            <a:normAutofit lnSpcReduction="10000"/>
          </a:bodyPr>
          <a:lstStyle/>
          <a:p>
            <a:pPr lvl="1"/>
            <a:endParaRPr lang="en-US" dirty="0"/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GB" sz="2800" dirty="0" smtClean="0">
                <a:solidFill>
                  <a:srgbClr val="0070C0"/>
                </a:solidFill>
              </a:rPr>
              <a:t> Back End Testing whereas Selenium is UI Testing</a:t>
            </a:r>
          </a:p>
          <a:p>
            <a:endParaRPr lang="en-GB" sz="2800" dirty="0" smtClean="0">
              <a:solidFill>
                <a:srgbClr val="0070C0"/>
              </a:solidFill>
            </a:endParaRP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GB" sz="2800" dirty="0" smtClean="0">
                <a:solidFill>
                  <a:srgbClr val="0070C0"/>
                </a:solidFill>
              </a:rPr>
              <a:t> API testing for Functional testing and Non-functional testing both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endParaRPr lang="en-GB" sz="2800" dirty="0">
              <a:solidFill>
                <a:srgbClr val="0070C0"/>
              </a:solidFill>
            </a:endParaRP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GB" sz="2800" dirty="0" smtClean="0">
                <a:solidFill>
                  <a:srgbClr val="0070C0"/>
                </a:solidFill>
              </a:rPr>
              <a:t>Performance, Security, Test for Core Functionality, Language Independent communication(XML,JSON interaction)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endParaRPr lang="en-GB" sz="2800" dirty="0">
              <a:solidFill>
                <a:srgbClr val="0070C0"/>
              </a:solidFill>
            </a:endParaRP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GB" sz="2800" dirty="0" smtClean="0">
                <a:solidFill>
                  <a:srgbClr val="0070C0"/>
                </a:solidFill>
              </a:rPr>
              <a:t>Advantage of API Testing is; It is faster doesn’t need a GUI to interact, no timeout, x-path related problem, stale elements and so on.</a:t>
            </a:r>
            <a:endParaRPr lang="en-GB" sz="2400" dirty="0">
              <a:solidFill>
                <a:srgbClr val="0070C0"/>
              </a:solidFill>
            </a:endParaRPr>
          </a:p>
          <a:p>
            <a:endParaRPr lang="en-GB" dirty="0" smtClean="0">
              <a:solidFill>
                <a:srgbClr val="0070C0"/>
              </a:solidFill>
            </a:endParaRPr>
          </a:p>
          <a:p>
            <a:endParaRPr lang="en-GB" dirty="0" smtClean="0">
              <a:solidFill>
                <a:srgbClr val="0070C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822114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/>
          <a:p>
            <a:r>
              <a:rPr lang="en-GB" dirty="0" smtClean="0"/>
              <a:t>Common API Testing Types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27349" y="1214082"/>
            <a:ext cx="11700000" cy="5176653"/>
          </a:xfrm>
        </p:spPr>
        <p:txBody>
          <a:bodyPr>
            <a:normAutofit/>
          </a:bodyPr>
          <a:lstStyle/>
          <a:p>
            <a:pPr lvl="1"/>
            <a:endParaRPr lang="en-US" dirty="0"/>
          </a:p>
          <a:p>
            <a:pPr marL="342900" indent="-342900">
              <a:buFont typeface="Wingdings" panose="05000000000000000000" pitchFamily="2" charset="2"/>
              <a:buChar char="Ø"/>
            </a:pPr>
            <a:endParaRPr lang="en-GB" dirty="0" smtClean="0">
              <a:solidFill>
                <a:srgbClr val="0070C0"/>
              </a:solidFill>
            </a:endParaRP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GB" sz="2400" dirty="0" smtClean="0">
                <a:solidFill>
                  <a:srgbClr val="0070C0"/>
                </a:solidFill>
              </a:rPr>
              <a:t>Functionality Testing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GB" sz="2400" dirty="0" smtClean="0">
                <a:solidFill>
                  <a:srgbClr val="0070C0"/>
                </a:solidFill>
              </a:rPr>
              <a:t>Validation Testing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GB" sz="2400" dirty="0" smtClean="0">
                <a:solidFill>
                  <a:srgbClr val="0070C0"/>
                </a:solidFill>
              </a:rPr>
              <a:t>Load Testing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GB" sz="2400" dirty="0" smtClean="0">
                <a:solidFill>
                  <a:srgbClr val="0070C0"/>
                </a:solidFill>
              </a:rPr>
              <a:t>Security testing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GB" sz="2400" dirty="0" smtClean="0">
                <a:solidFill>
                  <a:srgbClr val="0070C0"/>
                </a:solidFill>
              </a:rPr>
              <a:t>Pen testing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GB" sz="2400" dirty="0">
                <a:solidFill>
                  <a:srgbClr val="0070C0"/>
                </a:solidFill>
              </a:rPr>
              <a:t>C</a:t>
            </a:r>
            <a:r>
              <a:rPr lang="en-GB" sz="2400" dirty="0" smtClean="0">
                <a:solidFill>
                  <a:srgbClr val="0070C0"/>
                </a:solidFill>
              </a:rPr>
              <a:t>ompatibility </a:t>
            </a:r>
            <a:r>
              <a:rPr lang="en-GB" sz="2400" dirty="0" smtClean="0">
                <a:solidFill>
                  <a:srgbClr val="0070C0"/>
                </a:solidFill>
              </a:rPr>
              <a:t>testing</a:t>
            </a:r>
          </a:p>
        </p:txBody>
      </p:sp>
    </p:spTree>
    <p:extLst>
      <p:ext uri="{BB962C8B-B14F-4D97-AF65-F5344CB8AC3E}">
        <p14:creationId xmlns:p14="http://schemas.microsoft.com/office/powerpoint/2010/main" val="5755373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Cover options">
  <a:themeElements>
    <a:clrScheme name="Capgemini Palette">
      <a:dk1>
        <a:sysClr val="windowText" lastClr="000000"/>
      </a:dk1>
      <a:lt1>
        <a:srgbClr val="FFFFFF"/>
      </a:lt1>
      <a:dk2>
        <a:srgbClr val="2B143D"/>
      </a:dk2>
      <a:lt2>
        <a:srgbClr val="E6E7E7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pt-template.potx" id="{23A5B85C-F9EE-4523-9FF0-24A1D6C76194}" vid="{BC6B8890-D991-439D-826B-DCE21B240705}"/>
    </a:ext>
  </a:extLst>
</a:theme>
</file>

<file path=ppt/theme/theme3.xml><?xml version="1.0" encoding="utf-8"?>
<a:theme xmlns:a="http://schemas.openxmlformats.org/drawingml/2006/main" name="Capgemini Master">
  <a:themeElements>
    <a:clrScheme name="Personnalisé 1">
      <a:dk1>
        <a:sysClr val="windowText" lastClr="000000"/>
      </a:dk1>
      <a:lt1>
        <a:srgbClr val="FFFFFF"/>
      </a:lt1>
      <a:dk2>
        <a:srgbClr val="2B143D"/>
      </a:dk2>
      <a:lt2>
        <a:srgbClr val="ECECEC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pt-template.potx" id="{23A5B85C-F9EE-4523-9FF0-24A1D6C76194}" vid="{5CD0F2CD-C149-47AE-9000-EEF59CE5E48D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561</TotalTime>
  <Words>365</Words>
  <Application>Microsoft Office PowerPoint</Application>
  <PresentationFormat>Widescreen</PresentationFormat>
  <Paragraphs>66</Paragraphs>
  <Slides>5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4" baseType="lpstr">
      <vt:lpstr>Arial</vt:lpstr>
      <vt:lpstr>Calibri</vt:lpstr>
      <vt:lpstr>Calibri Light</vt:lpstr>
      <vt:lpstr>Verdana</vt:lpstr>
      <vt:lpstr>Wingdings</vt:lpstr>
      <vt:lpstr>Office Theme</vt:lpstr>
      <vt:lpstr>Cover options</vt:lpstr>
      <vt:lpstr>Capgemini Master</vt:lpstr>
      <vt:lpstr>think-cell Slide</vt:lpstr>
      <vt:lpstr>API Testing</vt:lpstr>
      <vt:lpstr>Introduction to API</vt:lpstr>
      <vt:lpstr>Architecture for Creating WEB-API</vt:lpstr>
      <vt:lpstr>API testing NEED</vt:lpstr>
      <vt:lpstr>Common API Testing Types</vt:lpstr>
    </vt:vector>
  </TitlesOfParts>
  <Company>Capgemini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I Testing</dc:title>
  <dc:creator>Cheriyan, Rincy</dc:creator>
  <cp:lastModifiedBy>Cheriyan, Rincy</cp:lastModifiedBy>
  <cp:revision>17</cp:revision>
  <dcterms:created xsi:type="dcterms:W3CDTF">2019-06-24T06:59:36Z</dcterms:created>
  <dcterms:modified xsi:type="dcterms:W3CDTF">2019-07-18T08:31:36Z</dcterms:modified>
</cp:coreProperties>
</file>